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autoCompressPictures="0">
  <p:sldMasterIdLst>
    <p:sldMasterId id="2147484011" r:id="rId9"/>
  </p:sldMasterIdLst>
  <p:notesMasterIdLst>
    <p:notesMasterId r:id="rId16"/>
  </p:notesMasterIdLst>
  <p:handoutMasterIdLst>
    <p:handoutMasterId r:id="rId17"/>
  </p:handoutMasterIdLst>
  <p:sldIdLst>
    <p:sldId id="2147482497" r:id="rId10"/>
    <p:sldId id="2147482499" r:id="rId11"/>
    <p:sldId id="2147482509" r:id="rId12"/>
    <p:sldId id="2147482511" r:id="rId13"/>
    <p:sldId id="2147482510" r:id="rId14"/>
    <p:sldId id="2147482508" r:id="rId15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D53F028-A2E4-E24B-A222-7DB4617B18BB}">
          <p14:sldIdLst>
            <p14:sldId id="2147482497"/>
            <p14:sldId id="2147482499"/>
            <p14:sldId id="2147482509"/>
            <p14:sldId id="2147482511"/>
            <p14:sldId id="2147482510"/>
            <p14:sldId id="214748250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FDB"/>
    <a:srgbClr val="FFE050"/>
    <a:srgbClr val="FFED5E"/>
    <a:srgbClr val="02ABB1"/>
    <a:srgbClr val="00666F"/>
    <a:srgbClr val="FCFCC2"/>
    <a:srgbClr val="ADFF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32" autoAdjust="0"/>
    <p:restoredTop sz="80017" autoAdjust="0"/>
  </p:normalViewPr>
  <p:slideViewPr>
    <p:cSldViewPr snapToGrid="0">
      <p:cViewPr>
        <p:scale>
          <a:sx n="125" d="100"/>
          <a:sy n="125" d="100"/>
        </p:scale>
        <p:origin x="1146" y="-192"/>
      </p:cViewPr>
      <p:guideLst>
        <p:guide orient="horz" pos="1620"/>
        <p:guide pos="2880"/>
      </p:guideLst>
    </p:cSldViewPr>
  </p:slideViewPr>
  <p:outlineViewPr>
    <p:cViewPr>
      <p:scale>
        <a:sx n="70" d="100"/>
        <a:sy n="70" d="100"/>
      </p:scale>
      <p:origin x="-80" y="-50192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4292"/>
    </p:cViewPr>
  </p:sorterViewPr>
  <p:notesViewPr>
    <p:cSldViewPr snapToGrid="0" showGuides="1">
      <p:cViewPr>
        <p:scale>
          <a:sx n="109" d="100"/>
          <a:sy n="109" d="100"/>
        </p:scale>
        <p:origin x="3666" y="456"/>
      </p:cViewPr>
      <p:guideLst/>
    </p:cSldViewPr>
  </p:notesViewPr>
  <p:gridSpacing cx="38100" cy="3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4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customXml" Target="../customXml/item7.xml"/><Relationship Id="rId12" Type="http://schemas.openxmlformats.org/officeDocument/2006/relationships/slide" Target="slides/slide3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2.xml"/><Relationship Id="rId5" Type="http://schemas.openxmlformats.org/officeDocument/2006/relationships/customXml" Target="../customXml/item5.xml"/><Relationship Id="rId15" Type="http://schemas.openxmlformats.org/officeDocument/2006/relationships/slide" Target="slides/slide6.xml"/><Relationship Id="rId10" Type="http://schemas.openxmlformats.org/officeDocument/2006/relationships/slide" Target="slides/slide1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1.xml"/><Relationship Id="rId14" Type="http://schemas.openxmlformats.org/officeDocument/2006/relationships/slide" Target="slides/slide5.xml"/><Relationship Id="rId22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78487FA-FF84-1B5E-CCCB-2A088FAB923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E177DAF-43A1-58DD-E748-93BE0ACB5B4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44211C-4A9E-8C4C-97BD-75A74A820AC7}" type="datetimeFigureOut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7/1/2025</a:t>
            </a:fld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004EE5-42B0-7389-3EEA-8484AE07F1A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A68BA1-9C50-DD81-9DB3-53BBF5BA2C3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0AC1E4-93AF-6C46-A091-93B307E81D8D}" type="slidenum">
              <a:rPr lang="en-US" smtClean="0">
                <a:latin typeface="Calibri" panose="020F0502020204030204" pitchFamily="34" charset="0"/>
                <a:cs typeface="Calibri" panose="020F0502020204030204" pitchFamily="34" charset="0"/>
              </a:rPr>
              <a:t>‹#›</a:t>
            </a:fld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03996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533895C0-2991-1741-81AF-563E5518032A}" type="datetimeFigureOut">
              <a:rPr lang="en-US" smtClean="0"/>
              <a:pPr/>
              <a:t>7/1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9875E972-9F07-2B4C-A7FE-11ACC38BEE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747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0329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5E972-9F07-2B4C-A7FE-11ACC38BEE9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777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 (vertical logo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2C8AFC2-36E4-52EC-B86B-1DDFCE2421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513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5E74CAA-EA60-CED8-13BE-2CFDF3D286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729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B44A6A6-80D1-A231-5BCE-9159D9EAB67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808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92513AC-DD08-E431-BEF0-0302DD1975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0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265EDB1-2D49-0860-F31E-C48BA83356D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6035040" cy="171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and black logo&#10;&#10;Description automatically generated">
            <a:extLst>
              <a:ext uri="{FF2B5EF4-FFF2-40B4-BE49-F238E27FC236}">
                <a16:creationId xmlns:a16="http://schemas.microsoft.com/office/drawing/2014/main" id="{0454C2E0-1A4D-C3BC-8805-19BA074B450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277" y="283122"/>
            <a:ext cx="841742" cy="45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048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nd 1/2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4">
            <a:extLst>
              <a:ext uri="{FF2B5EF4-FFF2-40B4-BE49-F238E27FC236}">
                <a16:creationId xmlns:a16="http://schemas.microsoft.com/office/drawing/2014/main" id="{4D4ADBDF-40DC-0727-7500-3CB2AD52979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572000" y="0"/>
            <a:ext cx="4572000" cy="5143500"/>
          </a:xfrm>
          <a:custGeom>
            <a:avLst/>
            <a:gdLst>
              <a:gd name="connsiteX0" fmla="*/ 4290930 w 4572000"/>
              <a:gd name="connsiteY0" fmla="*/ 4918662 h 5143500"/>
              <a:gd name="connsiteX1" fmla="*/ 4290937 w 4572000"/>
              <a:gd name="connsiteY1" fmla="*/ 4918670 h 5143500"/>
              <a:gd name="connsiteX2" fmla="*/ 4290930 w 4572000"/>
              <a:gd name="connsiteY2" fmla="*/ 4918680 h 5143500"/>
              <a:gd name="connsiteX3" fmla="*/ 4185882 w 4572000"/>
              <a:gd name="connsiteY3" fmla="*/ 4908682 h 5143500"/>
              <a:gd name="connsiteX4" fmla="*/ 4211191 w 4572000"/>
              <a:gd name="connsiteY4" fmla="*/ 4931060 h 5143500"/>
              <a:gd name="connsiteX5" fmla="*/ 4185882 w 4572000"/>
              <a:gd name="connsiteY5" fmla="*/ 4955819 h 5143500"/>
              <a:gd name="connsiteX6" fmla="*/ 4180150 w 4572000"/>
              <a:gd name="connsiteY6" fmla="*/ 4955819 h 5143500"/>
              <a:gd name="connsiteX7" fmla="*/ 4180150 w 4572000"/>
              <a:gd name="connsiteY7" fmla="*/ 4908800 h 5143500"/>
              <a:gd name="connsiteX8" fmla="*/ 4185882 w 4572000"/>
              <a:gd name="connsiteY8" fmla="*/ 4908682 h 5143500"/>
              <a:gd name="connsiteX9" fmla="*/ 3737514 w 4572000"/>
              <a:gd name="connsiteY9" fmla="*/ 4908682 h 5143500"/>
              <a:gd name="connsiteX10" fmla="*/ 3762824 w 4572000"/>
              <a:gd name="connsiteY10" fmla="*/ 4931060 h 5143500"/>
              <a:gd name="connsiteX11" fmla="*/ 3737514 w 4572000"/>
              <a:gd name="connsiteY11" fmla="*/ 4955819 h 5143500"/>
              <a:gd name="connsiteX12" fmla="*/ 3731782 w 4572000"/>
              <a:gd name="connsiteY12" fmla="*/ 4955819 h 5143500"/>
              <a:gd name="connsiteX13" fmla="*/ 3731782 w 4572000"/>
              <a:gd name="connsiteY13" fmla="*/ 4908800 h 5143500"/>
              <a:gd name="connsiteX14" fmla="*/ 3737514 w 4572000"/>
              <a:gd name="connsiteY14" fmla="*/ 4908682 h 5143500"/>
              <a:gd name="connsiteX15" fmla="*/ 4084176 w 4572000"/>
              <a:gd name="connsiteY15" fmla="*/ 4889642 h 5143500"/>
              <a:gd name="connsiteX16" fmla="*/ 4084176 w 4572000"/>
              <a:gd name="connsiteY16" fmla="*/ 5003422 h 5143500"/>
              <a:gd name="connsiteX17" fmla="*/ 4119036 w 4572000"/>
              <a:gd name="connsiteY17" fmla="*/ 5003422 h 5143500"/>
              <a:gd name="connsiteX18" fmla="*/ 4119036 w 4572000"/>
              <a:gd name="connsiteY18" fmla="*/ 4889642 h 5143500"/>
              <a:gd name="connsiteX19" fmla="*/ 4003476 w 4572000"/>
              <a:gd name="connsiteY19" fmla="*/ 4889642 h 5143500"/>
              <a:gd name="connsiteX20" fmla="*/ 4003476 w 4572000"/>
              <a:gd name="connsiteY20" fmla="*/ 5003422 h 5143500"/>
              <a:gd name="connsiteX21" fmla="*/ 4066503 w 4572000"/>
              <a:gd name="connsiteY21" fmla="*/ 5003422 h 5143500"/>
              <a:gd name="connsiteX22" fmla="*/ 4071759 w 4572000"/>
              <a:gd name="connsiteY22" fmla="*/ 4980570 h 5143500"/>
              <a:gd name="connsiteX23" fmla="*/ 4038337 w 4572000"/>
              <a:gd name="connsiteY23" fmla="*/ 4980570 h 5143500"/>
              <a:gd name="connsiteX24" fmla="*/ 4038337 w 4572000"/>
              <a:gd name="connsiteY24" fmla="*/ 4889642 h 5143500"/>
              <a:gd name="connsiteX25" fmla="*/ 3942839 w 4572000"/>
              <a:gd name="connsiteY25" fmla="*/ 4889642 h 5143500"/>
              <a:gd name="connsiteX26" fmla="*/ 3942839 w 4572000"/>
              <a:gd name="connsiteY26" fmla="*/ 5003422 h 5143500"/>
              <a:gd name="connsiteX27" fmla="*/ 3977700 w 4572000"/>
              <a:gd name="connsiteY27" fmla="*/ 5003422 h 5143500"/>
              <a:gd name="connsiteX28" fmla="*/ 3977700 w 4572000"/>
              <a:gd name="connsiteY28" fmla="*/ 4889642 h 5143500"/>
              <a:gd name="connsiteX29" fmla="*/ 3811044 w 4572000"/>
              <a:gd name="connsiteY29" fmla="*/ 4889642 h 5143500"/>
              <a:gd name="connsiteX30" fmla="*/ 3811044 w 4572000"/>
              <a:gd name="connsiteY30" fmla="*/ 5003422 h 5143500"/>
              <a:gd name="connsiteX31" fmla="*/ 3845905 w 4572000"/>
              <a:gd name="connsiteY31" fmla="*/ 5003422 h 5143500"/>
              <a:gd name="connsiteX32" fmla="*/ 3845905 w 4572000"/>
              <a:gd name="connsiteY32" fmla="*/ 4958675 h 5143500"/>
              <a:gd name="connsiteX33" fmla="*/ 3882193 w 4572000"/>
              <a:gd name="connsiteY33" fmla="*/ 4958675 h 5143500"/>
              <a:gd name="connsiteX34" fmla="*/ 3882193 w 4572000"/>
              <a:gd name="connsiteY34" fmla="*/ 5003422 h 5143500"/>
              <a:gd name="connsiteX35" fmla="*/ 3917054 w 4572000"/>
              <a:gd name="connsiteY35" fmla="*/ 5003422 h 5143500"/>
              <a:gd name="connsiteX36" fmla="*/ 3917054 w 4572000"/>
              <a:gd name="connsiteY36" fmla="*/ 4889642 h 5143500"/>
              <a:gd name="connsiteX37" fmla="*/ 3882193 w 4572000"/>
              <a:gd name="connsiteY37" fmla="*/ 4889642 h 5143500"/>
              <a:gd name="connsiteX38" fmla="*/ 3882193 w 4572000"/>
              <a:gd name="connsiteY38" fmla="*/ 4934873 h 5143500"/>
              <a:gd name="connsiteX39" fmla="*/ 3845905 w 4572000"/>
              <a:gd name="connsiteY39" fmla="*/ 4934873 h 5143500"/>
              <a:gd name="connsiteX40" fmla="*/ 3845905 w 4572000"/>
              <a:gd name="connsiteY40" fmla="*/ 4889642 h 5143500"/>
              <a:gd name="connsiteX41" fmla="*/ 4187786 w 4572000"/>
              <a:gd name="connsiteY41" fmla="*/ 4887261 h 5143500"/>
              <a:gd name="connsiteX42" fmla="*/ 4145289 w 4572000"/>
              <a:gd name="connsiteY42" fmla="*/ 4889642 h 5143500"/>
              <a:gd name="connsiteX43" fmla="*/ 4145289 w 4572000"/>
              <a:gd name="connsiteY43" fmla="*/ 5003422 h 5143500"/>
              <a:gd name="connsiteX44" fmla="*/ 4180150 w 4572000"/>
              <a:gd name="connsiteY44" fmla="*/ 5003422 h 5143500"/>
              <a:gd name="connsiteX45" fmla="*/ 4180150 w 4572000"/>
              <a:gd name="connsiteY45" fmla="*/ 4976282 h 5143500"/>
              <a:gd name="connsiteX46" fmla="*/ 4192566 w 4572000"/>
              <a:gd name="connsiteY46" fmla="*/ 4976282 h 5143500"/>
              <a:gd name="connsiteX47" fmla="*/ 4192566 w 4572000"/>
              <a:gd name="connsiteY47" fmla="*/ 4976291 h 5143500"/>
              <a:gd name="connsiteX48" fmla="*/ 4245567 w 4572000"/>
              <a:gd name="connsiteY48" fmla="*/ 4930586 h 5143500"/>
              <a:gd name="connsiteX49" fmla="*/ 4187786 w 4572000"/>
              <a:gd name="connsiteY49" fmla="*/ 4887261 h 5143500"/>
              <a:gd name="connsiteX50" fmla="*/ 3739428 w 4572000"/>
              <a:gd name="connsiteY50" fmla="*/ 4887261 h 5143500"/>
              <a:gd name="connsiteX51" fmla="*/ 3696931 w 4572000"/>
              <a:gd name="connsiteY51" fmla="*/ 4889642 h 5143500"/>
              <a:gd name="connsiteX52" fmla="*/ 3696931 w 4572000"/>
              <a:gd name="connsiteY52" fmla="*/ 5003422 h 5143500"/>
              <a:gd name="connsiteX53" fmla="*/ 3731791 w 4572000"/>
              <a:gd name="connsiteY53" fmla="*/ 5003422 h 5143500"/>
              <a:gd name="connsiteX54" fmla="*/ 3731791 w 4572000"/>
              <a:gd name="connsiteY54" fmla="*/ 4976282 h 5143500"/>
              <a:gd name="connsiteX55" fmla="*/ 3744208 w 4572000"/>
              <a:gd name="connsiteY55" fmla="*/ 4976282 h 5143500"/>
              <a:gd name="connsiteX56" fmla="*/ 3744199 w 4572000"/>
              <a:gd name="connsiteY56" fmla="*/ 4976291 h 5143500"/>
              <a:gd name="connsiteX57" fmla="*/ 3797199 w 4572000"/>
              <a:gd name="connsiteY57" fmla="*/ 4930586 h 5143500"/>
              <a:gd name="connsiteX58" fmla="*/ 3739428 w 4572000"/>
              <a:gd name="connsiteY58" fmla="*/ 4887261 h 5143500"/>
              <a:gd name="connsiteX59" fmla="*/ 4303337 w 4572000"/>
              <a:gd name="connsiteY59" fmla="*/ 4887252 h 5143500"/>
              <a:gd name="connsiteX60" fmla="*/ 4256069 w 4572000"/>
              <a:gd name="connsiteY60" fmla="*/ 4921527 h 5143500"/>
              <a:gd name="connsiteX61" fmla="*/ 4310507 w 4572000"/>
              <a:gd name="connsiteY61" fmla="*/ 4971994 h 5143500"/>
              <a:gd name="connsiteX62" fmla="*/ 4292367 w 4572000"/>
              <a:gd name="connsiteY62" fmla="*/ 4982942 h 5143500"/>
              <a:gd name="connsiteX63" fmla="*/ 4252736 w 4572000"/>
              <a:gd name="connsiteY63" fmla="*/ 4973892 h 5143500"/>
              <a:gd name="connsiteX64" fmla="*/ 4256555 w 4572000"/>
              <a:gd name="connsiteY64" fmla="*/ 5000074 h 5143500"/>
              <a:gd name="connsiteX65" fmla="*/ 4292844 w 4572000"/>
              <a:gd name="connsiteY65" fmla="*/ 5005785 h 5143500"/>
              <a:gd name="connsiteX66" fmla="*/ 4345844 w 4572000"/>
              <a:gd name="connsiteY66" fmla="*/ 4967697 h 5143500"/>
              <a:gd name="connsiteX67" fmla="*/ 4299510 w 4572000"/>
              <a:gd name="connsiteY67" fmla="*/ 4928600 h 5143500"/>
              <a:gd name="connsiteX68" fmla="*/ 4290937 w 4572000"/>
              <a:gd name="connsiteY68" fmla="*/ 4918670 h 5143500"/>
              <a:gd name="connsiteX69" fmla="*/ 4295287 w 4572000"/>
              <a:gd name="connsiteY69" fmla="*/ 4911836 h 5143500"/>
              <a:gd name="connsiteX70" fmla="*/ 4307165 w 4572000"/>
              <a:gd name="connsiteY70" fmla="*/ 4909630 h 5143500"/>
              <a:gd name="connsiteX71" fmla="*/ 4338198 w 4572000"/>
              <a:gd name="connsiteY71" fmla="*/ 4915341 h 5143500"/>
              <a:gd name="connsiteX72" fmla="*/ 4335332 w 4572000"/>
              <a:gd name="connsiteY72" fmla="*/ 4890582 h 5143500"/>
              <a:gd name="connsiteX73" fmla="*/ 4303337 w 4572000"/>
              <a:gd name="connsiteY73" fmla="*/ 4887252 h 5143500"/>
              <a:gd name="connsiteX74" fmla="*/ 0 w 4572000"/>
              <a:gd name="connsiteY74" fmla="*/ 0 h 5143500"/>
              <a:gd name="connsiteX75" fmla="*/ 4572000 w 4572000"/>
              <a:gd name="connsiteY75" fmla="*/ 0 h 5143500"/>
              <a:gd name="connsiteX76" fmla="*/ 4572000 w 4572000"/>
              <a:gd name="connsiteY76" fmla="*/ 5143500 h 5143500"/>
              <a:gd name="connsiteX77" fmla="*/ 0 w 4572000"/>
              <a:gd name="connsiteY7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4572000" h="5143500">
                <a:moveTo>
                  <a:pt x="4290930" y="4918662"/>
                </a:moveTo>
                <a:lnTo>
                  <a:pt x="4290937" y="4918670"/>
                </a:lnTo>
                <a:lnTo>
                  <a:pt x="4290930" y="4918680"/>
                </a:lnTo>
                <a:close/>
                <a:moveTo>
                  <a:pt x="4185882" y="4908682"/>
                </a:moveTo>
                <a:cubicBezTo>
                  <a:pt x="4203069" y="4908682"/>
                  <a:pt x="4211191" y="4916774"/>
                  <a:pt x="4211191" y="4931060"/>
                </a:cubicBezTo>
                <a:cubicBezTo>
                  <a:pt x="4211191" y="4945821"/>
                  <a:pt x="4204031" y="4955819"/>
                  <a:pt x="4185882" y="4955819"/>
                </a:cubicBezTo>
                <a:lnTo>
                  <a:pt x="4180150" y="4955819"/>
                </a:lnTo>
                <a:lnTo>
                  <a:pt x="4180150" y="4908800"/>
                </a:lnTo>
                <a:cubicBezTo>
                  <a:pt x="4182173" y="4908682"/>
                  <a:pt x="4184087" y="4908682"/>
                  <a:pt x="4185882" y="4908682"/>
                </a:cubicBezTo>
                <a:close/>
                <a:moveTo>
                  <a:pt x="3737514" y="4908682"/>
                </a:moveTo>
                <a:cubicBezTo>
                  <a:pt x="3754702" y="4908682"/>
                  <a:pt x="3762824" y="4916774"/>
                  <a:pt x="3762824" y="4931060"/>
                </a:cubicBezTo>
                <a:cubicBezTo>
                  <a:pt x="3762824" y="4945821"/>
                  <a:pt x="3755663" y="4955819"/>
                  <a:pt x="3737514" y="4955819"/>
                </a:cubicBezTo>
                <a:lnTo>
                  <a:pt x="3731782" y="4955819"/>
                </a:lnTo>
                <a:lnTo>
                  <a:pt x="3731782" y="4908800"/>
                </a:lnTo>
                <a:cubicBezTo>
                  <a:pt x="3733815" y="4908682"/>
                  <a:pt x="3735720" y="4908682"/>
                  <a:pt x="3737514" y="4908682"/>
                </a:cubicBezTo>
                <a:close/>
                <a:moveTo>
                  <a:pt x="4084176" y="4889642"/>
                </a:moveTo>
                <a:lnTo>
                  <a:pt x="4084176" y="5003422"/>
                </a:lnTo>
                <a:lnTo>
                  <a:pt x="4119036" y="5003422"/>
                </a:lnTo>
                <a:lnTo>
                  <a:pt x="4119036" y="4889642"/>
                </a:lnTo>
                <a:close/>
                <a:moveTo>
                  <a:pt x="4003476" y="4889642"/>
                </a:moveTo>
                <a:lnTo>
                  <a:pt x="4003476" y="5003422"/>
                </a:lnTo>
                <a:lnTo>
                  <a:pt x="4066503" y="5003422"/>
                </a:lnTo>
                <a:lnTo>
                  <a:pt x="4071759" y="4980570"/>
                </a:lnTo>
                <a:lnTo>
                  <a:pt x="4038337" y="4980570"/>
                </a:lnTo>
                <a:lnTo>
                  <a:pt x="4038337" y="4889642"/>
                </a:lnTo>
                <a:close/>
                <a:moveTo>
                  <a:pt x="3942839" y="4889642"/>
                </a:moveTo>
                <a:lnTo>
                  <a:pt x="3942839" y="5003422"/>
                </a:lnTo>
                <a:lnTo>
                  <a:pt x="3977700" y="5003422"/>
                </a:lnTo>
                <a:lnTo>
                  <a:pt x="3977700" y="4889642"/>
                </a:lnTo>
                <a:close/>
                <a:moveTo>
                  <a:pt x="3811044" y="4889642"/>
                </a:moveTo>
                <a:lnTo>
                  <a:pt x="3811044" y="5003422"/>
                </a:lnTo>
                <a:lnTo>
                  <a:pt x="3845905" y="5003422"/>
                </a:lnTo>
                <a:lnTo>
                  <a:pt x="3845905" y="4958675"/>
                </a:lnTo>
                <a:lnTo>
                  <a:pt x="3882193" y="4958675"/>
                </a:lnTo>
                <a:lnTo>
                  <a:pt x="3882193" y="5003422"/>
                </a:lnTo>
                <a:lnTo>
                  <a:pt x="3917054" y="5003422"/>
                </a:lnTo>
                <a:lnTo>
                  <a:pt x="3917054" y="4889642"/>
                </a:lnTo>
                <a:lnTo>
                  <a:pt x="3882193" y="4889642"/>
                </a:lnTo>
                <a:lnTo>
                  <a:pt x="3882193" y="4934873"/>
                </a:lnTo>
                <a:lnTo>
                  <a:pt x="3845905" y="4934873"/>
                </a:lnTo>
                <a:lnTo>
                  <a:pt x="3845905" y="4889642"/>
                </a:lnTo>
                <a:close/>
                <a:moveTo>
                  <a:pt x="4187786" y="4887261"/>
                </a:moveTo>
                <a:cubicBezTo>
                  <a:pt x="4173941" y="4887261"/>
                  <a:pt x="4157230" y="4888210"/>
                  <a:pt x="4145289" y="4889642"/>
                </a:cubicBezTo>
                <a:lnTo>
                  <a:pt x="4145289" y="5003422"/>
                </a:lnTo>
                <a:lnTo>
                  <a:pt x="4180150" y="5003422"/>
                </a:lnTo>
                <a:lnTo>
                  <a:pt x="4180150" y="4976282"/>
                </a:lnTo>
                <a:lnTo>
                  <a:pt x="4192566" y="4976282"/>
                </a:lnTo>
                <a:lnTo>
                  <a:pt x="4192566" y="4976291"/>
                </a:lnTo>
                <a:cubicBezTo>
                  <a:pt x="4225037" y="4976291"/>
                  <a:pt x="4245567" y="4959633"/>
                  <a:pt x="4245567" y="4930586"/>
                </a:cubicBezTo>
                <a:cubicBezTo>
                  <a:pt x="4245567" y="4898692"/>
                  <a:pt x="4223599" y="4887261"/>
                  <a:pt x="4187786" y="4887261"/>
                </a:cubicBezTo>
                <a:close/>
                <a:moveTo>
                  <a:pt x="3739428" y="4887261"/>
                </a:moveTo>
                <a:cubicBezTo>
                  <a:pt x="3725583" y="4887261"/>
                  <a:pt x="3708872" y="4888210"/>
                  <a:pt x="3696931" y="4889642"/>
                </a:cubicBezTo>
                <a:lnTo>
                  <a:pt x="3696931" y="5003422"/>
                </a:lnTo>
                <a:lnTo>
                  <a:pt x="3731791" y="5003422"/>
                </a:lnTo>
                <a:lnTo>
                  <a:pt x="3731791" y="4976282"/>
                </a:lnTo>
                <a:lnTo>
                  <a:pt x="3744208" y="4976282"/>
                </a:lnTo>
                <a:lnTo>
                  <a:pt x="3744199" y="4976291"/>
                </a:lnTo>
                <a:cubicBezTo>
                  <a:pt x="3776669" y="4976291"/>
                  <a:pt x="3797199" y="4959633"/>
                  <a:pt x="3797199" y="4930586"/>
                </a:cubicBezTo>
                <a:cubicBezTo>
                  <a:pt x="3797208" y="4898683"/>
                  <a:pt x="3775241" y="4887261"/>
                  <a:pt x="3739428" y="4887261"/>
                </a:cubicBezTo>
                <a:close/>
                <a:moveTo>
                  <a:pt x="4303337" y="4887252"/>
                </a:moveTo>
                <a:cubicBezTo>
                  <a:pt x="4275162" y="4887252"/>
                  <a:pt x="4256069" y="4898318"/>
                  <a:pt x="4256069" y="4921527"/>
                </a:cubicBezTo>
                <a:cubicBezTo>
                  <a:pt x="4256069" y="4961521"/>
                  <a:pt x="4310507" y="4953429"/>
                  <a:pt x="4310507" y="4971994"/>
                </a:cubicBezTo>
                <a:cubicBezTo>
                  <a:pt x="4310507" y="4979137"/>
                  <a:pt x="4305251" y="4982942"/>
                  <a:pt x="4292367" y="4982942"/>
                </a:cubicBezTo>
                <a:cubicBezTo>
                  <a:pt x="4280903" y="4982942"/>
                  <a:pt x="4263239" y="4979137"/>
                  <a:pt x="4252736" y="4973892"/>
                </a:cubicBezTo>
                <a:lnTo>
                  <a:pt x="4256555" y="5000074"/>
                </a:lnTo>
                <a:cubicBezTo>
                  <a:pt x="4267058" y="5003888"/>
                  <a:pt x="4281388" y="5005785"/>
                  <a:pt x="4292844" y="5005785"/>
                </a:cubicBezTo>
                <a:cubicBezTo>
                  <a:pt x="4321972" y="5005785"/>
                  <a:pt x="4345844" y="4996261"/>
                  <a:pt x="4345844" y="4967697"/>
                </a:cubicBezTo>
                <a:cubicBezTo>
                  <a:pt x="4345844" y="4939131"/>
                  <a:pt x="4314955" y="4936008"/>
                  <a:pt x="4299510" y="4928600"/>
                </a:cubicBezTo>
                <a:lnTo>
                  <a:pt x="4290937" y="4918670"/>
                </a:lnTo>
                <a:lnTo>
                  <a:pt x="4295287" y="4911836"/>
                </a:lnTo>
                <a:cubicBezTo>
                  <a:pt x="4298093" y="4910346"/>
                  <a:pt x="4302152" y="4909630"/>
                  <a:pt x="4307165" y="4909630"/>
                </a:cubicBezTo>
                <a:cubicBezTo>
                  <a:pt x="4318144" y="4909630"/>
                  <a:pt x="4330085" y="4912011"/>
                  <a:pt x="4338198" y="4915341"/>
                </a:cubicBezTo>
                <a:lnTo>
                  <a:pt x="4335332" y="4890582"/>
                </a:lnTo>
                <a:cubicBezTo>
                  <a:pt x="4326257" y="4888675"/>
                  <a:pt x="4318144" y="4887252"/>
                  <a:pt x="4303337" y="4887252"/>
                </a:cubicBezTo>
                <a:close/>
                <a:moveTo>
                  <a:pt x="0" y="0"/>
                </a:moveTo>
                <a:lnTo>
                  <a:pt x="4572000" y="0"/>
                </a:lnTo>
                <a:lnTo>
                  <a:pt x="4572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6" name="Footer Placeholder 11">
            <a:extLst>
              <a:ext uri="{FF2B5EF4-FFF2-40B4-BE49-F238E27FC236}">
                <a16:creationId xmlns:a16="http://schemas.microsoft.com/office/drawing/2014/main" id="{876D54D5-622D-C8E4-CD5C-2D01FEA4B5B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36576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12">
            <a:extLst>
              <a:ext uri="{FF2B5EF4-FFF2-40B4-BE49-F238E27FC236}">
                <a16:creationId xmlns:a16="http://schemas.microsoft.com/office/drawing/2014/main" id="{0431AD5C-8671-9AFE-04DD-0F34103D9F1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EABECB-BF56-1EC1-700B-6EE80491A7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02104" y="1839282"/>
            <a:ext cx="3657280" cy="2856543"/>
          </a:xfrm>
        </p:spPr>
        <p:txBody>
          <a:bodyPr/>
          <a:lstStyle>
            <a:lvl1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buClr>
                <a:schemeClr val="bg1"/>
              </a:buClr>
              <a:buSzPct val="75000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List item</a:t>
            </a:r>
          </a:p>
          <a:p>
            <a:pPr lvl="1"/>
            <a:r>
              <a:rPr lang="en-US" dirty="0"/>
              <a:t>List item</a:t>
            </a:r>
          </a:p>
          <a:p>
            <a:pPr lvl="2"/>
            <a:r>
              <a:rPr lang="en-US" dirty="0"/>
              <a:t>List item</a:t>
            </a:r>
          </a:p>
          <a:p>
            <a:pPr lvl="3"/>
            <a:r>
              <a:rPr lang="en-US" dirty="0"/>
              <a:t>List item</a:t>
            </a:r>
          </a:p>
          <a:p>
            <a:pPr lvl="4"/>
            <a:r>
              <a:rPr lang="en-US" dirty="0"/>
              <a:t>List item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55C4CE81-E728-AD2F-72F4-655C91D574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974520"/>
            <a:ext cx="3657281" cy="719137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BDF0FF"/>
                </a:solidFill>
              </a:defRPr>
            </a:lvl1pPr>
          </a:lstStyle>
          <a:p>
            <a:r>
              <a:rPr lang="en-US" dirty="0"/>
              <a:t>Type your headline here </a:t>
            </a:r>
            <a:br>
              <a:rPr lang="en-US" dirty="0"/>
            </a:br>
            <a:r>
              <a:rPr lang="en-US" dirty="0"/>
              <a:t>(ex: Agenda)</a:t>
            </a:r>
            <a:endParaRPr lang="en-GB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716CC379-2329-348A-A0BB-BF2305A004E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2104" y="613446"/>
            <a:ext cx="2240280" cy="2154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rgbClr val="BDF0FF"/>
                </a:solidFill>
              </a:defRPr>
            </a:lvl1pPr>
            <a:lvl2pPr marL="182876" indent="0">
              <a:buNone/>
              <a:defRPr sz="1400" b="1">
                <a:solidFill>
                  <a:schemeClr val="bg2"/>
                </a:solidFill>
              </a:defRPr>
            </a:lvl2pPr>
            <a:lvl3pPr marL="321810" indent="0">
              <a:buNone/>
              <a:defRPr sz="1400" b="1">
                <a:solidFill>
                  <a:schemeClr val="bg2"/>
                </a:solidFill>
              </a:defRPr>
            </a:lvl3pPr>
            <a:lvl4pPr marL="457189" indent="0">
              <a:buNone/>
              <a:defRPr sz="1400" b="1">
                <a:solidFill>
                  <a:schemeClr val="bg2"/>
                </a:solidFill>
              </a:defRPr>
            </a:lvl4pPr>
            <a:lvl5pPr marL="593709" indent="0">
              <a:buNone/>
              <a:defRPr sz="14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88A61FA-8506-8BDE-75B7-56CF2CF1A59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02104" y="373904"/>
            <a:ext cx="2240280" cy="2154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1">
                <a:solidFill>
                  <a:srgbClr val="BDF0FF"/>
                </a:solidFill>
              </a:defRPr>
            </a:lvl1pPr>
            <a:lvl2pPr marL="182876" indent="0">
              <a:buNone/>
              <a:defRPr sz="1400" b="1">
                <a:solidFill>
                  <a:schemeClr val="bg2"/>
                </a:solidFill>
              </a:defRPr>
            </a:lvl2pPr>
            <a:lvl3pPr marL="321810" indent="0">
              <a:buNone/>
              <a:defRPr sz="1400" b="1">
                <a:solidFill>
                  <a:schemeClr val="bg2"/>
                </a:solidFill>
              </a:defRPr>
            </a:lvl3pPr>
            <a:lvl4pPr marL="457189" indent="0">
              <a:buNone/>
              <a:defRPr sz="1400" b="1">
                <a:solidFill>
                  <a:schemeClr val="bg2"/>
                </a:solidFill>
              </a:defRPr>
            </a:lvl4pPr>
            <a:lvl5pPr marL="593709" indent="0">
              <a:buNone/>
              <a:defRPr sz="1400" b="1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Meeting/Event 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737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 (with imag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9D78E995-A1DD-8545-84F0-DC4CDC5BD5F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D8B1C466-D200-4DC7-D0E2-B4A614BA5B2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F4F6A7D-29A9-865E-B1B3-84E34AE313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4920" y="2212851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hilips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6CB73A-A9B6-13DF-87F7-3E10FF24BEDD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87F682B3-AF4A-91C9-4759-8E607A1666A2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A37A77D-5A68-FA54-71E2-62A93FDC6A7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466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 (with imag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3E2DADD8-E1E5-2BC7-F70F-856D65BF749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41BE682-E648-A30F-488B-DAEEA0E0CB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4920" y="2212851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Whit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746B0B-2942-5B4C-DCB9-34A15D547F6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9EFBEDBE-C1AF-5843-C168-0AC571738EF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4043278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 blue (with image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879EF11-C66F-25CE-5EFB-6055ED7EC2F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3DAD8C3-A9EB-9986-F97F-413372422A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4920" y="2212851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Light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1C264C-A8C8-C508-F1B9-3B467123058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BE110ED-2D7D-D774-0B80-3F90D3F4E9A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3449367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ark blue (with ima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6483C4F6-50E7-6E1E-D4D2-96582662F31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E6C58F87-A9BA-2FA1-B97C-0698020B515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074920" y="4928616"/>
            <a:ext cx="914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72425AB-1C29-0373-FC31-D4FB7C7122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3431" y="2212183"/>
            <a:ext cx="3179496" cy="719137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30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ark blue divider, </a:t>
            </a:r>
            <a:br>
              <a:rPr lang="en-US" dirty="0"/>
            </a:br>
            <a:r>
              <a:rPr lang="en-US" dirty="0"/>
              <a:t>half phot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88B69E-8B5D-DA78-AE44-FB6C6BDE89E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BEA3FF-6101-A89B-8F65-C421806231B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6E3089D-E461-0C57-2084-1F72CD158BFD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352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0F0D7CB1-AD3C-2852-787D-8D22425C381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0ADC6353-6048-E03A-3D77-9D075ACD8B7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C52B2FB9-5F5F-3AD4-6FA3-4B103FDE22E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6469C53-2653-5C06-7E2F-CD7D6BC91B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8" y="1648421"/>
            <a:ext cx="8138161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hilips blue divider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609342E-45EF-3B14-6398-69B80ECAAF0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BDF0FF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A385F6C-EE6D-ED6D-18D0-4DE79C3908D5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310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C5660C-87D6-8991-CE76-9D054AAB9A5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D63F8B-8A74-0E87-A158-F18F0F9C68A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770153C2-9411-C295-333A-E234FF87BD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9" y="1648421"/>
            <a:ext cx="8138160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rgbClr val="00126E"/>
                </a:solidFill>
              </a:defRPr>
            </a:lvl1pPr>
          </a:lstStyle>
          <a:p>
            <a:r>
              <a:rPr lang="en-US" dirty="0"/>
              <a:t>White divider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C5F79E5-E3CC-0F06-D2F0-AB9CC0AE2C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</p:spTree>
    <p:extLst>
      <p:ext uri="{BB962C8B-B14F-4D97-AF65-F5344CB8AC3E}">
        <p14:creationId xmlns:p14="http://schemas.microsoft.com/office/powerpoint/2010/main" val="2693432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ligh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B31952-E4A5-D9E8-C52F-5D29A7BC41F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E8E28A7-BDB3-7FE2-2275-6C094A1DF3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5170887A-6431-1399-F5E5-FA3AD3099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9" y="1648421"/>
            <a:ext cx="8138160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rgbClr val="00126E"/>
                </a:solidFill>
              </a:defRPr>
            </a:lvl1pPr>
          </a:lstStyle>
          <a:p>
            <a:r>
              <a:rPr lang="en-US" dirty="0"/>
              <a:t>Light blue divider</a:t>
            </a:r>
            <a:endParaRPr lang="en-GB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239A8D7-86F6-5F8F-60A8-D347B9F18D4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</p:spTree>
    <p:extLst>
      <p:ext uri="{BB962C8B-B14F-4D97-AF65-F5344CB8AC3E}">
        <p14:creationId xmlns:p14="http://schemas.microsoft.com/office/powerpoint/2010/main" val="1171092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F4BC162-EBC9-AD4C-50FB-5AE54CFC382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302E108-9147-4964-1570-DD151056425A}"/>
              </a:ext>
            </a:extLst>
          </p:cNvPr>
          <p:cNvSpPr>
            <a:spLocks noGrp="1"/>
          </p:cNvSpPr>
          <p:nvPr userDrawn="1">
            <p:ph type="ftr" sz="quarter" idx="15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7ED613-E8BF-EF44-A246-98413FA79480}"/>
              </a:ext>
            </a:extLst>
          </p:cNvPr>
          <p:cNvSpPr>
            <a:spLocks noGrp="1"/>
          </p:cNvSpPr>
          <p:nvPr userDrawn="1">
            <p:ph type="sldNum" sz="quarter" idx="16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514E7F6E-2B69-4BF8-B520-1CCC3F36F2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19" y="1648421"/>
            <a:ext cx="8138160" cy="1846659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ark blue divider</a:t>
            </a:r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1A37B65-E4B8-71F7-A78F-77B2D4E42B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376239"/>
            <a:ext cx="406908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BDF0FF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7FA3403-DB36-5459-127B-003E16CD7F5B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20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840DD0C7-5AF6-1A37-ECF9-CC16DE9DDC7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tx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E5BC41EF-EEE9-1B6E-5F31-3E428C7719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0D815C2-849B-D7BD-0DB7-A36C1FA4B70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36F285E-21D8-7DCC-C09A-8638AEC14F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74904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ype your slide headline he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923826F-0E15-8317-5ABF-92322521F27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500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 (vertical logo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B67DB58-F737-AC10-CC1C-15DBD6E977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06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78A8BD4-EC83-5206-5C7B-605BC11D3A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685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6B5CCBC-2A7F-98C5-9D8E-0D0149E666C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7641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A803C9-3B4E-EB3B-6029-7BDE048835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0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F43539-EB41-4C14-53EF-2935F6D07E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and black logo&#10;&#10;Description automatically generated">
            <a:extLst>
              <a:ext uri="{FF2B5EF4-FFF2-40B4-BE49-F238E27FC236}">
                <a16:creationId xmlns:a16="http://schemas.microsoft.com/office/drawing/2014/main" id="{84AA1B72-4063-89DB-D076-1E2338DCA05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277" y="283122"/>
            <a:ext cx="841742" cy="45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661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2F1EC1-2658-C047-B1BA-7D4E1C0429B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E53026-A825-4528-4CF3-B5A9681011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5B2A843-3D74-BE80-F9C6-089029FBB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20" y="376241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3665400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ligh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970542-4FDB-B324-ECE0-DE3F5DFAF1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DCCC7D-4FA5-392C-1757-004F3007C80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2D381BB-CD2F-C7BC-1AFA-2073F1739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76241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1537142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F101F003-E183-0112-A786-7AA9F6D0DE1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tx1"/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AB06B5-4F14-55FD-A5A0-3ED51EB49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0D042B-CFFA-A2E0-2A91-CEF83AE1A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68A8DF2-CDA7-D81B-B404-AB351FB689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238" y="376241"/>
            <a:ext cx="8138160" cy="719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ype your slide headlin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8076A43-B32F-C6BC-95CF-AF3D220BC566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343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81C77D-DDC8-3024-919F-538FECE1E64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2" y="1211263"/>
            <a:ext cx="8138160" cy="3484800"/>
          </a:xfrm>
          <a:prstGeom prst="rect">
            <a:avLst/>
          </a:prstGeo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7">
            <a:extLst>
              <a:ext uri="{FF2B5EF4-FFF2-40B4-BE49-F238E27FC236}">
                <a16:creationId xmlns:a16="http://schemas.microsoft.com/office/drawing/2014/main" id="{17A39C56-76E5-6D8E-D2AE-E974200C17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68344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F116B89-87B5-8107-A5CD-141BB742256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20333" y="1211263"/>
            <a:ext cx="3823606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B6E554A-6B73-15E4-3764-C5F8C8ADA4F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3" y="1211263"/>
            <a:ext cx="3823606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2AED31B2-8BB2-E9B2-06B3-96133C2A7C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21097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47832D1-2CB0-EF47-87AC-2268BFA1D6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0675C8B-9184-054B-B7F8-DF9237D45D9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C1EB096-CDA0-FBC3-ACB0-B46F4AC10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62611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3E0B99A-29EB-A6B9-09B7-861A3D1249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77488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AA75FF5-94F5-C44C-32B7-5EC624735A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3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Title 7">
            <a:extLst>
              <a:ext uri="{FF2B5EF4-FFF2-40B4-BE49-F238E27FC236}">
                <a16:creationId xmlns:a16="http://schemas.microsoft.com/office/drawing/2014/main" id="{4967F1C9-9964-32B9-28CE-CDB0035173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53" y="376241"/>
            <a:ext cx="8138160" cy="7191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Type your slide headlin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11169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65D507BA-0817-31A1-44FE-891B1C7FA17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253180" y="0"/>
            <a:ext cx="5888736" cy="5143500"/>
          </a:xfrm>
          <a:custGeom>
            <a:avLst/>
            <a:gdLst>
              <a:gd name="connsiteX0" fmla="*/ 5609750 w 5890820"/>
              <a:gd name="connsiteY0" fmla="*/ 4918662 h 5143500"/>
              <a:gd name="connsiteX1" fmla="*/ 5609757 w 5890820"/>
              <a:gd name="connsiteY1" fmla="*/ 4918670 h 5143500"/>
              <a:gd name="connsiteX2" fmla="*/ 5609750 w 5890820"/>
              <a:gd name="connsiteY2" fmla="*/ 4918680 h 5143500"/>
              <a:gd name="connsiteX3" fmla="*/ 5504702 w 5890820"/>
              <a:gd name="connsiteY3" fmla="*/ 4908682 h 5143500"/>
              <a:gd name="connsiteX4" fmla="*/ 5530011 w 5890820"/>
              <a:gd name="connsiteY4" fmla="*/ 4931060 h 5143500"/>
              <a:gd name="connsiteX5" fmla="*/ 5504702 w 5890820"/>
              <a:gd name="connsiteY5" fmla="*/ 4955819 h 5143500"/>
              <a:gd name="connsiteX6" fmla="*/ 5498970 w 5890820"/>
              <a:gd name="connsiteY6" fmla="*/ 4955819 h 5143500"/>
              <a:gd name="connsiteX7" fmla="*/ 5498970 w 5890820"/>
              <a:gd name="connsiteY7" fmla="*/ 4908800 h 5143500"/>
              <a:gd name="connsiteX8" fmla="*/ 5504702 w 5890820"/>
              <a:gd name="connsiteY8" fmla="*/ 4908682 h 5143500"/>
              <a:gd name="connsiteX9" fmla="*/ 5056334 w 5890820"/>
              <a:gd name="connsiteY9" fmla="*/ 4908682 h 5143500"/>
              <a:gd name="connsiteX10" fmla="*/ 5081644 w 5890820"/>
              <a:gd name="connsiteY10" fmla="*/ 4931060 h 5143500"/>
              <a:gd name="connsiteX11" fmla="*/ 5056334 w 5890820"/>
              <a:gd name="connsiteY11" fmla="*/ 4955819 h 5143500"/>
              <a:gd name="connsiteX12" fmla="*/ 5050602 w 5890820"/>
              <a:gd name="connsiteY12" fmla="*/ 4955819 h 5143500"/>
              <a:gd name="connsiteX13" fmla="*/ 5050602 w 5890820"/>
              <a:gd name="connsiteY13" fmla="*/ 4908800 h 5143500"/>
              <a:gd name="connsiteX14" fmla="*/ 5056334 w 5890820"/>
              <a:gd name="connsiteY14" fmla="*/ 4908682 h 5143500"/>
              <a:gd name="connsiteX15" fmla="*/ 5402996 w 5890820"/>
              <a:gd name="connsiteY15" fmla="*/ 4889642 h 5143500"/>
              <a:gd name="connsiteX16" fmla="*/ 5402996 w 5890820"/>
              <a:gd name="connsiteY16" fmla="*/ 5003422 h 5143500"/>
              <a:gd name="connsiteX17" fmla="*/ 5437856 w 5890820"/>
              <a:gd name="connsiteY17" fmla="*/ 5003422 h 5143500"/>
              <a:gd name="connsiteX18" fmla="*/ 5437856 w 5890820"/>
              <a:gd name="connsiteY18" fmla="*/ 4889642 h 5143500"/>
              <a:gd name="connsiteX19" fmla="*/ 5322296 w 5890820"/>
              <a:gd name="connsiteY19" fmla="*/ 4889642 h 5143500"/>
              <a:gd name="connsiteX20" fmla="*/ 5322296 w 5890820"/>
              <a:gd name="connsiteY20" fmla="*/ 5003422 h 5143500"/>
              <a:gd name="connsiteX21" fmla="*/ 5385323 w 5890820"/>
              <a:gd name="connsiteY21" fmla="*/ 5003422 h 5143500"/>
              <a:gd name="connsiteX22" fmla="*/ 5390579 w 5890820"/>
              <a:gd name="connsiteY22" fmla="*/ 4980570 h 5143500"/>
              <a:gd name="connsiteX23" fmla="*/ 5357157 w 5890820"/>
              <a:gd name="connsiteY23" fmla="*/ 4980570 h 5143500"/>
              <a:gd name="connsiteX24" fmla="*/ 5357157 w 5890820"/>
              <a:gd name="connsiteY24" fmla="*/ 4889642 h 5143500"/>
              <a:gd name="connsiteX25" fmla="*/ 5261659 w 5890820"/>
              <a:gd name="connsiteY25" fmla="*/ 4889642 h 5143500"/>
              <a:gd name="connsiteX26" fmla="*/ 5261659 w 5890820"/>
              <a:gd name="connsiteY26" fmla="*/ 5003422 h 5143500"/>
              <a:gd name="connsiteX27" fmla="*/ 5296520 w 5890820"/>
              <a:gd name="connsiteY27" fmla="*/ 5003422 h 5143500"/>
              <a:gd name="connsiteX28" fmla="*/ 5296520 w 5890820"/>
              <a:gd name="connsiteY28" fmla="*/ 4889642 h 5143500"/>
              <a:gd name="connsiteX29" fmla="*/ 5129864 w 5890820"/>
              <a:gd name="connsiteY29" fmla="*/ 4889642 h 5143500"/>
              <a:gd name="connsiteX30" fmla="*/ 5129864 w 5890820"/>
              <a:gd name="connsiteY30" fmla="*/ 5003422 h 5143500"/>
              <a:gd name="connsiteX31" fmla="*/ 5164725 w 5890820"/>
              <a:gd name="connsiteY31" fmla="*/ 5003422 h 5143500"/>
              <a:gd name="connsiteX32" fmla="*/ 5164725 w 5890820"/>
              <a:gd name="connsiteY32" fmla="*/ 4958675 h 5143500"/>
              <a:gd name="connsiteX33" fmla="*/ 5201013 w 5890820"/>
              <a:gd name="connsiteY33" fmla="*/ 4958675 h 5143500"/>
              <a:gd name="connsiteX34" fmla="*/ 5201013 w 5890820"/>
              <a:gd name="connsiteY34" fmla="*/ 5003422 h 5143500"/>
              <a:gd name="connsiteX35" fmla="*/ 5235874 w 5890820"/>
              <a:gd name="connsiteY35" fmla="*/ 5003422 h 5143500"/>
              <a:gd name="connsiteX36" fmla="*/ 5235874 w 5890820"/>
              <a:gd name="connsiteY36" fmla="*/ 4889642 h 5143500"/>
              <a:gd name="connsiteX37" fmla="*/ 5201013 w 5890820"/>
              <a:gd name="connsiteY37" fmla="*/ 4889642 h 5143500"/>
              <a:gd name="connsiteX38" fmla="*/ 5201013 w 5890820"/>
              <a:gd name="connsiteY38" fmla="*/ 4934873 h 5143500"/>
              <a:gd name="connsiteX39" fmla="*/ 5164725 w 5890820"/>
              <a:gd name="connsiteY39" fmla="*/ 4934873 h 5143500"/>
              <a:gd name="connsiteX40" fmla="*/ 5164725 w 5890820"/>
              <a:gd name="connsiteY40" fmla="*/ 4889642 h 5143500"/>
              <a:gd name="connsiteX41" fmla="*/ 5506606 w 5890820"/>
              <a:gd name="connsiteY41" fmla="*/ 4887261 h 5143500"/>
              <a:gd name="connsiteX42" fmla="*/ 5464109 w 5890820"/>
              <a:gd name="connsiteY42" fmla="*/ 4889642 h 5143500"/>
              <a:gd name="connsiteX43" fmla="*/ 5464109 w 5890820"/>
              <a:gd name="connsiteY43" fmla="*/ 5003422 h 5143500"/>
              <a:gd name="connsiteX44" fmla="*/ 5498970 w 5890820"/>
              <a:gd name="connsiteY44" fmla="*/ 5003422 h 5143500"/>
              <a:gd name="connsiteX45" fmla="*/ 5498970 w 5890820"/>
              <a:gd name="connsiteY45" fmla="*/ 4976282 h 5143500"/>
              <a:gd name="connsiteX46" fmla="*/ 5511386 w 5890820"/>
              <a:gd name="connsiteY46" fmla="*/ 4976282 h 5143500"/>
              <a:gd name="connsiteX47" fmla="*/ 5511386 w 5890820"/>
              <a:gd name="connsiteY47" fmla="*/ 4976291 h 5143500"/>
              <a:gd name="connsiteX48" fmla="*/ 5564387 w 5890820"/>
              <a:gd name="connsiteY48" fmla="*/ 4930586 h 5143500"/>
              <a:gd name="connsiteX49" fmla="*/ 5506606 w 5890820"/>
              <a:gd name="connsiteY49" fmla="*/ 4887261 h 5143500"/>
              <a:gd name="connsiteX50" fmla="*/ 5058248 w 5890820"/>
              <a:gd name="connsiteY50" fmla="*/ 4887261 h 5143500"/>
              <a:gd name="connsiteX51" fmla="*/ 5015751 w 5890820"/>
              <a:gd name="connsiteY51" fmla="*/ 4889642 h 5143500"/>
              <a:gd name="connsiteX52" fmla="*/ 5015751 w 5890820"/>
              <a:gd name="connsiteY52" fmla="*/ 5003422 h 5143500"/>
              <a:gd name="connsiteX53" fmla="*/ 5050611 w 5890820"/>
              <a:gd name="connsiteY53" fmla="*/ 5003422 h 5143500"/>
              <a:gd name="connsiteX54" fmla="*/ 5050611 w 5890820"/>
              <a:gd name="connsiteY54" fmla="*/ 4976282 h 5143500"/>
              <a:gd name="connsiteX55" fmla="*/ 5063028 w 5890820"/>
              <a:gd name="connsiteY55" fmla="*/ 4976282 h 5143500"/>
              <a:gd name="connsiteX56" fmla="*/ 5063019 w 5890820"/>
              <a:gd name="connsiteY56" fmla="*/ 4976291 h 5143500"/>
              <a:gd name="connsiteX57" fmla="*/ 5116019 w 5890820"/>
              <a:gd name="connsiteY57" fmla="*/ 4930586 h 5143500"/>
              <a:gd name="connsiteX58" fmla="*/ 5058248 w 5890820"/>
              <a:gd name="connsiteY58" fmla="*/ 4887261 h 5143500"/>
              <a:gd name="connsiteX59" fmla="*/ 5622157 w 5890820"/>
              <a:gd name="connsiteY59" fmla="*/ 4887252 h 5143500"/>
              <a:gd name="connsiteX60" fmla="*/ 5574889 w 5890820"/>
              <a:gd name="connsiteY60" fmla="*/ 4921527 h 5143500"/>
              <a:gd name="connsiteX61" fmla="*/ 5629327 w 5890820"/>
              <a:gd name="connsiteY61" fmla="*/ 4971994 h 5143500"/>
              <a:gd name="connsiteX62" fmla="*/ 5611187 w 5890820"/>
              <a:gd name="connsiteY62" fmla="*/ 4982942 h 5143500"/>
              <a:gd name="connsiteX63" fmla="*/ 5571556 w 5890820"/>
              <a:gd name="connsiteY63" fmla="*/ 4973892 h 5143500"/>
              <a:gd name="connsiteX64" fmla="*/ 5575375 w 5890820"/>
              <a:gd name="connsiteY64" fmla="*/ 5000074 h 5143500"/>
              <a:gd name="connsiteX65" fmla="*/ 5611664 w 5890820"/>
              <a:gd name="connsiteY65" fmla="*/ 5005785 h 5143500"/>
              <a:gd name="connsiteX66" fmla="*/ 5664664 w 5890820"/>
              <a:gd name="connsiteY66" fmla="*/ 4967697 h 5143500"/>
              <a:gd name="connsiteX67" fmla="*/ 5618330 w 5890820"/>
              <a:gd name="connsiteY67" fmla="*/ 4928600 h 5143500"/>
              <a:gd name="connsiteX68" fmla="*/ 5609757 w 5890820"/>
              <a:gd name="connsiteY68" fmla="*/ 4918670 h 5143500"/>
              <a:gd name="connsiteX69" fmla="*/ 5614107 w 5890820"/>
              <a:gd name="connsiteY69" fmla="*/ 4911836 h 5143500"/>
              <a:gd name="connsiteX70" fmla="*/ 5625985 w 5890820"/>
              <a:gd name="connsiteY70" fmla="*/ 4909630 h 5143500"/>
              <a:gd name="connsiteX71" fmla="*/ 5657018 w 5890820"/>
              <a:gd name="connsiteY71" fmla="*/ 4915341 h 5143500"/>
              <a:gd name="connsiteX72" fmla="*/ 5654152 w 5890820"/>
              <a:gd name="connsiteY72" fmla="*/ 4890582 h 5143500"/>
              <a:gd name="connsiteX73" fmla="*/ 5622157 w 5890820"/>
              <a:gd name="connsiteY73" fmla="*/ 4887252 h 5143500"/>
              <a:gd name="connsiteX74" fmla="*/ 0 w 5890820"/>
              <a:gd name="connsiteY74" fmla="*/ 0 h 5143500"/>
              <a:gd name="connsiteX75" fmla="*/ 5890820 w 5890820"/>
              <a:gd name="connsiteY75" fmla="*/ 0 h 5143500"/>
              <a:gd name="connsiteX76" fmla="*/ 5890820 w 5890820"/>
              <a:gd name="connsiteY76" fmla="*/ 5143500 h 5143500"/>
              <a:gd name="connsiteX77" fmla="*/ 0 w 5890820"/>
              <a:gd name="connsiteY7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890820" h="5143500">
                <a:moveTo>
                  <a:pt x="5609750" y="4918662"/>
                </a:moveTo>
                <a:lnTo>
                  <a:pt x="5609757" y="4918670"/>
                </a:lnTo>
                <a:lnTo>
                  <a:pt x="5609750" y="4918680"/>
                </a:lnTo>
                <a:close/>
                <a:moveTo>
                  <a:pt x="5504702" y="4908682"/>
                </a:moveTo>
                <a:cubicBezTo>
                  <a:pt x="5521889" y="4908682"/>
                  <a:pt x="5530011" y="4916774"/>
                  <a:pt x="5530011" y="4931060"/>
                </a:cubicBezTo>
                <a:cubicBezTo>
                  <a:pt x="5530011" y="4945821"/>
                  <a:pt x="5522851" y="4955819"/>
                  <a:pt x="5504702" y="4955819"/>
                </a:cubicBezTo>
                <a:lnTo>
                  <a:pt x="5498970" y="4955819"/>
                </a:lnTo>
                <a:lnTo>
                  <a:pt x="5498970" y="4908800"/>
                </a:lnTo>
                <a:cubicBezTo>
                  <a:pt x="5500993" y="4908682"/>
                  <a:pt x="5502907" y="4908682"/>
                  <a:pt x="5504702" y="4908682"/>
                </a:cubicBezTo>
                <a:close/>
                <a:moveTo>
                  <a:pt x="5056334" y="4908682"/>
                </a:moveTo>
                <a:cubicBezTo>
                  <a:pt x="5073522" y="4908682"/>
                  <a:pt x="5081644" y="4916774"/>
                  <a:pt x="5081644" y="4931060"/>
                </a:cubicBezTo>
                <a:cubicBezTo>
                  <a:pt x="5081644" y="4945821"/>
                  <a:pt x="5074483" y="4955819"/>
                  <a:pt x="5056334" y="4955819"/>
                </a:cubicBezTo>
                <a:lnTo>
                  <a:pt x="5050602" y="4955819"/>
                </a:lnTo>
                <a:lnTo>
                  <a:pt x="5050602" y="4908800"/>
                </a:lnTo>
                <a:cubicBezTo>
                  <a:pt x="5052635" y="4908682"/>
                  <a:pt x="5054540" y="4908682"/>
                  <a:pt x="5056334" y="4908682"/>
                </a:cubicBezTo>
                <a:close/>
                <a:moveTo>
                  <a:pt x="5402996" y="4889642"/>
                </a:moveTo>
                <a:lnTo>
                  <a:pt x="5402996" y="5003422"/>
                </a:lnTo>
                <a:lnTo>
                  <a:pt x="5437856" y="5003422"/>
                </a:lnTo>
                <a:lnTo>
                  <a:pt x="5437856" y="4889642"/>
                </a:lnTo>
                <a:close/>
                <a:moveTo>
                  <a:pt x="5322296" y="4889642"/>
                </a:moveTo>
                <a:lnTo>
                  <a:pt x="5322296" y="5003422"/>
                </a:lnTo>
                <a:lnTo>
                  <a:pt x="5385323" y="5003422"/>
                </a:lnTo>
                <a:lnTo>
                  <a:pt x="5390579" y="4980570"/>
                </a:lnTo>
                <a:lnTo>
                  <a:pt x="5357157" y="4980570"/>
                </a:lnTo>
                <a:lnTo>
                  <a:pt x="5357157" y="4889642"/>
                </a:lnTo>
                <a:close/>
                <a:moveTo>
                  <a:pt x="5261659" y="4889642"/>
                </a:moveTo>
                <a:lnTo>
                  <a:pt x="5261659" y="5003422"/>
                </a:lnTo>
                <a:lnTo>
                  <a:pt x="5296520" y="5003422"/>
                </a:lnTo>
                <a:lnTo>
                  <a:pt x="5296520" y="4889642"/>
                </a:lnTo>
                <a:close/>
                <a:moveTo>
                  <a:pt x="5129864" y="4889642"/>
                </a:moveTo>
                <a:lnTo>
                  <a:pt x="5129864" y="5003422"/>
                </a:lnTo>
                <a:lnTo>
                  <a:pt x="5164725" y="5003422"/>
                </a:lnTo>
                <a:lnTo>
                  <a:pt x="5164725" y="4958675"/>
                </a:lnTo>
                <a:lnTo>
                  <a:pt x="5201013" y="4958675"/>
                </a:lnTo>
                <a:lnTo>
                  <a:pt x="5201013" y="5003422"/>
                </a:lnTo>
                <a:lnTo>
                  <a:pt x="5235874" y="5003422"/>
                </a:lnTo>
                <a:lnTo>
                  <a:pt x="5235874" y="4889642"/>
                </a:lnTo>
                <a:lnTo>
                  <a:pt x="5201013" y="4889642"/>
                </a:lnTo>
                <a:lnTo>
                  <a:pt x="5201013" y="4934873"/>
                </a:lnTo>
                <a:lnTo>
                  <a:pt x="5164725" y="4934873"/>
                </a:lnTo>
                <a:lnTo>
                  <a:pt x="5164725" y="4889642"/>
                </a:lnTo>
                <a:close/>
                <a:moveTo>
                  <a:pt x="5506606" y="4887261"/>
                </a:moveTo>
                <a:cubicBezTo>
                  <a:pt x="5492761" y="4887261"/>
                  <a:pt x="5476050" y="4888210"/>
                  <a:pt x="5464109" y="4889642"/>
                </a:cubicBezTo>
                <a:lnTo>
                  <a:pt x="5464109" y="5003422"/>
                </a:lnTo>
                <a:lnTo>
                  <a:pt x="5498970" y="5003422"/>
                </a:lnTo>
                <a:lnTo>
                  <a:pt x="5498970" y="4976282"/>
                </a:lnTo>
                <a:lnTo>
                  <a:pt x="5511386" y="4976282"/>
                </a:lnTo>
                <a:lnTo>
                  <a:pt x="5511386" y="4976291"/>
                </a:lnTo>
                <a:cubicBezTo>
                  <a:pt x="5543857" y="4976291"/>
                  <a:pt x="5564387" y="4959633"/>
                  <a:pt x="5564387" y="4930586"/>
                </a:cubicBezTo>
                <a:cubicBezTo>
                  <a:pt x="5564387" y="4898692"/>
                  <a:pt x="5542419" y="4887261"/>
                  <a:pt x="5506606" y="4887261"/>
                </a:cubicBezTo>
                <a:close/>
                <a:moveTo>
                  <a:pt x="5058248" y="4887261"/>
                </a:moveTo>
                <a:cubicBezTo>
                  <a:pt x="5044403" y="4887261"/>
                  <a:pt x="5027692" y="4888210"/>
                  <a:pt x="5015751" y="4889642"/>
                </a:cubicBezTo>
                <a:lnTo>
                  <a:pt x="5015751" y="5003422"/>
                </a:lnTo>
                <a:lnTo>
                  <a:pt x="5050611" y="5003422"/>
                </a:lnTo>
                <a:lnTo>
                  <a:pt x="5050611" y="4976282"/>
                </a:lnTo>
                <a:lnTo>
                  <a:pt x="5063028" y="4976282"/>
                </a:lnTo>
                <a:lnTo>
                  <a:pt x="5063019" y="4976291"/>
                </a:lnTo>
                <a:cubicBezTo>
                  <a:pt x="5095489" y="4976291"/>
                  <a:pt x="5116019" y="4959633"/>
                  <a:pt x="5116019" y="4930586"/>
                </a:cubicBezTo>
                <a:cubicBezTo>
                  <a:pt x="5116028" y="4898683"/>
                  <a:pt x="5094061" y="4887261"/>
                  <a:pt x="5058248" y="4887261"/>
                </a:cubicBezTo>
                <a:close/>
                <a:moveTo>
                  <a:pt x="5622157" y="4887252"/>
                </a:moveTo>
                <a:cubicBezTo>
                  <a:pt x="5593982" y="4887252"/>
                  <a:pt x="5574889" y="4898318"/>
                  <a:pt x="5574889" y="4921527"/>
                </a:cubicBezTo>
                <a:cubicBezTo>
                  <a:pt x="5574889" y="4961521"/>
                  <a:pt x="5629327" y="4953429"/>
                  <a:pt x="5629327" y="4971994"/>
                </a:cubicBezTo>
                <a:cubicBezTo>
                  <a:pt x="5629327" y="4979137"/>
                  <a:pt x="5624071" y="4982942"/>
                  <a:pt x="5611187" y="4982942"/>
                </a:cubicBezTo>
                <a:cubicBezTo>
                  <a:pt x="5599723" y="4982942"/>
                  <a:pt x="5582059" y="4979137"/>
                  <a:pt x="5571556" y="4973892"/>
                </a:cubicBezTo>
                <a:lnTo>
                  <a:pt x="5575375" y="5000074"/>
                </a:lnTo>
                <a:cubicBezTo>
                  <a:pt x="5585878" y="5003888"/>
                  <a:pt x="5600208" y="5005785"/>
                  <a:pt x="5611664" y="5005785"/>
                </a:cubicBezTo>
                <a:cubicBezTo>
                  <a:pt x="5640792" y="5005785"/>
                  <a:pt x="5664664" y="4996261"/>
                  <a:pt x="5664664" y="4967697"/>
                </a:cubicBezTo>
                <a:cubicBezTo>
                  <a:pt x="5664664" y="4939131"/>
                  <a:pt x="5633775" y="4936008"/>
                  <a:pt x="5618330" y="4928600"/>
                </a:cubicBezTo>
                <a:lnTo>
                  <a:pt x="5609757" y="4918670"/>
                </a:lnTo>
                <a:lnTo>
                  <a:pt x="5614107" y="4911836"/>
                </a:lnTo>
                <a:cubicBezTo>
                  <a:pt x="5616913" y="4910346"/>
                  <a:pt x="5620972" y="4909630"/>
                  <a:pt x="5625985" y="4909630"/>
                </a:cubicBezTo>
                <a:cubicBezTo>
                  <a:pt x="5636964" y="4909630"/>
                  <a:pt x="5648905" y="4912011"/>
                  <a:pt x="5657018" y="4915341"/>
                </a:cubicBezTo>
                <a:lnTo>
                  <a:pt x="5654152" y="4890582"/>
                </a:lnTo>
                <a:cubicBezTo>
                  <a:pt x="5645077" y="4888675"/>
                  <a:pt x="5636964" y="4887252"/>
                  <a:pt x="5622157" y="4887252"/>
                </a:cubicBezTo>
                <a:close/>
                <a:moveTo>
                  <a:pt x="0" y="0"/>
                </a:moveTo>
                <a:lnTo>
                  <a:pt x="5890820" y="0"/>
                </a:lnTo>
                <a:lnTo>
                  <a:pt x="589082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5" name="Footer Placeholder 11">
            <a:extLst>
              <a:ext uri="{FF2B5EF4-FFF2-40B4-BE49-F238E27FC236}">
                <a16:creationId xmlns:a16="http://schemas.microsoft.com/office/drawing/2014/main" id="{39233B01-D8A4-FE06-9412-52107B278D8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2377440" cy="9144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2C26D52-4263-A84E-BE9C-E8B266F7A2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0063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0DFB18B-FAF9-0022-13B7-568D842046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2920" y="376242"/>
            <a:ext cx="2377440" cy="72237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ype your slide headline here</a:t>
            </a:r>
          </a:p>
        </p:txBody>
      </p:sp>
    </p:spTree>
    <p:extLst>
      <p:ext uri="{BB962C8B-B14F-4D97-AF65-F5344CB8AC3E}">
        <p14:creationId xmlns:p14="http://schemas.microsoft.com/office/powerpoint/2010/main" val="4051781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-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44F529D8-9C6F-58F5-0254-996E808C09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62611" y="1211263"/>
            <a:ext cx="2379602" cy="348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79F63E1-D3F3-F243-D730-F89C53934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60149" y="376242"/>
            <a:ext cx="2377440" cy="72237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ype your slide headline here</a:t>
            </a:r>
          </a:p>
        </p:txBody>
      </p:sp>
      <p:sp>
        <p:nvSpPr>
          <p:cNvPr id="4" name="Footer Placeholder 11">
            <a:extLst>
              <a:ext uri="{FF2B5EF4-FFF2-40B4-BE49-F238E27FC236}">
                <a16:creationId xmlns:a16="http://schemas.microsoft.com/office/drawing/2014/main" id="{D019B56E-17F1-60C5-DE51-C73526AF218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237744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12">
            <a:extLst>
              <a:ext uri="{FF2B5EF4-FFF2-40B4-BE49-F238E27FC236}">
                <a16:creationId xmlns:a16="http://schemas.microsoft.com/office/drawing/2014/main" id="{CE15C5B3-F137-C847-8AEF-B6EA3211AAA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3C5F3973-0A3E-BA0D-7446-25212BF944F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0" y="0"/>
            <a:ext cx="5890820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</p:spTree>
    <p:extLst>
      <p:ext uri="{BB962C8B-B14F-4D97-AF65-F5344CB8AC3E}">
        <p14:creationId xmlns:p14="http://schemas.microsoft.com/office/powerpoint/2010/main" val="2108103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D14F1EF4-283E-34CE-199C-D2F9ED23AA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0" y="0"/>
            <a:ext cx="9144000" cy="5143500"/>
          </a:xfrm>
          <a:custGeom>
            <a:avLst/>
            <a:gdLst>
              <a:gd name="connsiteX0" fmla="*/ 8862930 w 9144000"/>
              <a:gd name="connsiteY0" fmla="*/ 4918662 h 5143500"/>
              <a:gd name="connsiteX1" fmla="*/ 8862940 w 9144000"/>
              <a:gd name="connsiteY1" fmla="*/ 4918674 h 5143500"/>
              <a:gd name="connsiteX2" fmla="*/ 8862930 w 9144000"/>
              <a:gd name="connsiteY2" fmla="*/ 4918680 h 5143500"/>
              <a:gd name="connsiteX3" fmla="*/ 8757882 w 9144000"/>
              <a:gd name="connsiteY3" fmla="*/ 4908682 h 5143500"/>
              <a:gd name="connsiteX4" fmla="*/ 8783191 w 9144000"/>
              <a:gd name="connsiteY4" fmla="*/ 4931060 h 5143500"/>
              <a:gd name="connsiteX5" fmla="*/ 8757882 w 9144000"/>
              <a:gd name="connsiteY5" fmla="*/ 4955819 h 5143500"/>
              <a:gd name="connsiteX6" fmla="*/ 8752150 w 9144000"/>
              <a:gd name="connsiteY6" fmla="*/ 4955819 h 5143500"/>
              <a:gd name="connsiteX7" fmla="*/ 8752150 w 9144000"/>
              <a:gd name="connsiteY7" fmla="*/ 4908800 h 5143500"/>
              <a:gd name="connsiteX8" fmla="*/ 8757882 w 9144000"/>
              <a:gd name="connsiteY8" fmla="*/ 4908682 h 5143500"/>
              <a:gd name="connsiteX9" fmla="*/ 8309514 w 9144000"/>
              <a:gd name="connsiteY9" fmla="*/ 4908682 h 5143500"/>
              <a:gd name="connsiteX10" fmla="*/ 8334824 w 9144000"/>
              <a:gd name="connsiteY10" fmla="*/ 4931060 h 5143500"/>
              <a:gd name="connsiteX11" fmla="*/ 8309514 w 9144000"/>
              <a:gd name="connsiteY11" fmla="*/ 4955819 h 5143500"/>
              <a:gd name="connsiteX12" fmla="*/ 8303782 w 9144000"/>
              <a:gd name="connsiteY12" fmla="*/ 4955819 h 5143500"/>
              <a:gd name="connsiteX13" fmla="*/ 8303782 w 9144000"/>
              <a:gd name="connsiteY13" fmla="*/ 4908800 h 5143500"/>
              <a:gd name="connsiteX14" fmla="*/ 8309514 w 9144000"/>
              <a:gd name="connsiteY14" fmla="*/ 4908682 h 5143500"/>
              <a:gd name="connsiteX15" fmla="*/ 8656176 w 9144000"/>
              <a:gd name="connsiteY15" fmla="*/ 4889642 h 5143500"/>
              <a:gd name="connsiteX16" fmla="*/ 8656176 w 9144000"/>
              <a:gd name="connsiteY16" fmla="*/ 5003422 h 5143500"/>
              <a:gd name="connsiteX17" fmla="*/ 8691036 w 9144000"/>
              <a:gd name="connsiteY17" fmla="*/ 5003422 h 5143500"/>
              <a:gd name="connsiteX18" fmla="*/ 8691036 w 9144000"/>
              <a:gd name="connsiteY18" fmla="*/ 4889642 h 5143500"/>
              <a:gd name="connsiteX19" fmla="*/ 8575476 w 9144000"/>
              <a:gd name="connsiteY19" fmla="*/ 4889642 h 5143500"/>
              <a:gd name="connsiteX20" fmla="*/ 8575476 w 9144000"/>
              <a:gd name="connsiteY20" fmla="*/ 5003422 h 5143500"/>
              <a:gd name="connsiteX21" fmla="*/ 8638503 w 9144000"/>
              <a:gd name="connsiteY21" fmla="*/ 5003422 h 5143500"/>
              <a:gd name="connsiteX22" fmla="*/ 8643759 w 9144000"/>
              <a:gd name="connsiteY22" fmla="*/ 4980570 h 5143500"/>
              <a:gd name="connsiteX23" fmla="*/ 8610337 w 9144000"/>
              <a:gd name="connsiteY23" fmla="*/ 4980570 h 5143500"/>
              <a:gd name="connsiteX24" fmla="*/ 8610337 w 9144000"/>
              <a:gd name="connsiteY24" fmla="*/ 4889642 h 5143500"/>
              <a:gd name="connsiteX25" fmla="*/ 8514839 w 9144000"/>
              <a:gd name="connsiteY25" fmla="*/ 4889642 h 5143500"/>
              <a:gd name="connsiteX26" fmla="*/ 8514839 w 9144000"/>
              <a:gd name="connsiteY26" fmla="*/ 5003422 h 5143500"/>
              <a:gd name="connsiteX27" fmla="*/ 8549700 w 9144000"/>
              <a:gd name="connsiteY27" fmla="*/ 5003422 h 5143500"/>
              <a:gd name="connsiteX28" fmla="*/ 8549700 w 9144000"/>
              <a:gd name="connsiteY28" fmla="*/ 4889642 h 5143500"/>
              <a:gd name="connsiteX29" fmla="*/ 8383044 w 9144000"/>
              <a:gd name="connsiteY29" fmla="*/ 4889642 h 5143500"/>
              <a:gd name="connsiteX30" fmla="*/ 8383044 w 9144000"/>
              <a:gd name="connsiteY30" fmla="*/ 5003422 h 5143500"/>
              <a:gd name="connsiteX31" fmla="*/ 8417905 w 9144000"/>
              <a:gd name="connsiteY31" fmla="*/ 5003422 h 5143500"/>
              <a:gd name="connsiteX32" fmla="*/ 8417905 w 9144000"/>
              <a:gd name="connsiteY32" fmla="*/ 4958675 h 5143500"/>
              <a:gd name="connsiteX33" fmla="*/ 8454193 w 9144000"/>
              <a:gd name="connsiteY33" fmla="*/ 4958675 h 5143500"/>
              <a:gd name="connsiteX34" fmla="*/ 8454193 w 9144000"/>
              <a:gd name="connsiteY34" fmla="*/ 5003422 h 5143500"/>
              <a:gd name="connsiteX35" fmla="*/ 8489054 w 9144000"/>
              <a:gd name="connsiteY35" fmla="*/ 5003422 h 5143500"/>
              <a:gd name="connsiteX36" fmla="*/ 8489054 w 9144000"/>
              <a:gd name="connsiteY36" fmla="*/ 4889642 h 5143500"/>
              <a:gd name="connsiteX37" fmla="*/ 8454193 w 9144000"/>
              <a:gd name="connsiteY37" fmla="*/ 4889642 h 5143500"/>
              <a:gd name="connsiteX38" fmla="*/ 8454193 w 9144000"/>
              <a:gd name="connsiteY38" fmla="*/ 4934873 h 5143500"/>
              <a:gd name="connsiteX39" fmla="*/ 8417905 w 9144000"/>
              <a:gd name="connsiteY39" fmla="*/ 4934873 h 5143500"/>
              <a:gd name="connsiteX40" fmla="*/ 8417905 w 9144000"/>
              <a:gd name="connsiteY40" fmla="*/ 4889642 h 5143500"/>
              <a:gd name="connsiteX41" fmla="*/ 8759786 w 9144000"/>
              <a:gd name="connsiteY41" fmla="*/ 4887261 h 5143500"/>
              <a:gd name="connsiteX42" fmla="*/ 8717289 w 9144000"/>
              <a:gd name="connsiteY42" fmla="*/ 4889642 h 5143500"/>
              <a:gd name="connsiteX43" fmla="*/ 8717289 w 9144000"/>
              <a:gd name="connsiteY43" fmla="*/ 5003422 h 5143500"/>
              <a:gd name="connsiteX44" fmla="*/ 8752150 w 9144000"/>
              <a:gd name="connsiteY44" fmla="*/ 5003422 h 5143500"/>
              <a:gd name="connsiteX45" fmla="*/ 8752150 w 9144000"/>
              <a:gd name="connsiteY45" fmla="*/ 4976282 h 5143500"/>
              <a:gd name="connsiteX46" fmla="*/ 8764566 w 9144000"/>
              <a:gd name="connsiteY46" fmla="*/ 4976282 h 5143500"/>
              <a:gd name="connsiteX47" fmla="*/ 8764566 w 9144000"/>
              <a:gd name="connsiteY47" fmla="*/ 4976291 h 5143500"/>
              <a:gd name="connsiteX48" fmla="*/ 8817567 w 9144000"/>
              <a:gd name="connsiteY48" fmla="*/ 4930586 h 5143500"/>
              <a:gd name="connsiteX49" fmla="*/ 8759786 w 9144000"/>
              <a:gd name="connsiteY49" fmla="*/ 4887261 h 5143500"/>
              <a:gd name="connsiteX50" fmla="*/ 8311428 w 9144000"/>
              <a:gd name="connsiteY50" fmla="*/ 4887261 h 5143500"/>
              <a:gd name="connsiteX51" fmla="*/ 8268931 w 9144000"/>
              <a:gd name="connsiteY51" fmla="*/ 4889642 h 5143500"/>
              <a:gd name="connsiteX52" fmla="*/ 8268931 w 9144000"/>
              <a:gd name="connsiteY52" fmla="*/ 5003422 h 5143500"/>
              <a:gd name="connsiteX53" fmla="*/ 8303791 w 9144000"/>
              <a:gd name="connsiteY53" fmla="*/ 5003422 h 5143500"/>
              <a:gd name="connsiteX54" fmla="*/ 8303791 w 9144000"/>
              <a:gd name="connsiteY54" fmla="*/ 4976282 h 5143500"/>
              <a:gd name="connsiteX55" fmla="*/ 8316208 w 9144000"/>
              <a:gd name="connsiteY55" fmla="*/ 4976282 h 5143500"/>
              <a:gd name="connsiteX56" fmla="*/ 8316199 w 9144000"/>
              <a:gd name="connsiteY56" fmla="*/ 4976291 h 5143500"/>
              <a:gd name="connsiteX57" fmla="*/ 8369199 w 9144000"/>
              <a:gd name="connsiteY57" fmla="*/ 4930586 h 5143500"/>
              <a:gd name="connsiteX58" fmla="*/ 8311428 w 9144000"/>
              <a:gd name="connsiteY58" fmla="*/ 4887261 h 5143500"/>
              <a:gd name="connsiteX59" fmla="*/ 8875337 w 9144000"/>
              <a:gd name="connsiteY59" fmla="*/ 4887252 h 5143500"/>
              <a:gd name="connsiteX60" fmla="*/ 8828069 w 9144000"/>
              <a:gd name="connsiteY60" fmla="*/ 4921527 h 5143500"/>
              <a:gd name="connsiteX61" fmla="*/ 8882507 w 9144000"/>
              <a:gd name="connsiteY61" fmla="*/ 4971994 h 5143500"/>
              <a:gd name="connsiteX62" fmla="*/ 8864367 w 9144000"/>
              <a:gd name="connsiteY62" fmla="*/ 4982942 h 5143500"/>
              <a:gd name="connsiteX63" fmla="*/ 8824736 w 9144000"/>
              <a:gd name="connsiteY63" fmla="*/ 4973892 h 5143500"/>
              <a:gd name="connsiteX64" fmla="*/ 8828555 w 9144000"/>
              <a:gd name="connsiteY64" fmla="*/ 5000074 h 5143500"/>
              <a:gd name="connsiteX65" fmla="*/ 8864844 w 9144000"/>
              <a:gd name="connsiteY65" fmla="*/ 5005785 h 5143500"/>
              <a:gd name="connsiteX66" fmla="*/ 8917844 w 9144000"/>
              <a:gd name="connsiteY66" fmla="*/ 4967697 h 5143500"/>
              <a:gd name="connsiteX67" fmla="*/ 8871510 w 9144000"/>
              <a:gd name="connsiteY67" fmla="*/ 4928600 h 5143500"/>
              <a:gd name="connsiteX68" fmla="*/ 8862940 w 9144000"/>
              <a:gd name="connsiteY68" fmla="*/ 4918674 h 5143500"/>
              <a:gd name="connsiteX69" fmla="*/ 8879165 w 9144000"/>
              <a:gd name="connsiteY69" fmla="*/ 4909630 h 5143500"/>
              <a:gd name="connsiteX70" fmla="*/ 8910198 w 9144000"/>
              <a:gd name="connsiteY70" fmla="*/ 4915341 h 5143500"/>
              <a:gd name="connsiteX71" fmla="*/ 8907332 w 9144000"/>
              <a:gd name="connsiteY71" fmla="*/ 4890582 h 5143500"/>
              <a:gd name="connsiteX72" fmla="*/ 8875337 w 9144000"/>
              <a:gd name="connsiteY72" fmla="*/ 4887252 h 5143500"/>
              <a:gd name="connsiteX73" fmla="*/ 0 w 9144000"/>
              <a:gd name="connsiteY73" fmla="*/ 0 h 5143500"/>
              <a:gd name="connsiteX74" fmla="*/ 9144000 w 9144000"/>
              <a:gd name="connsiteY74" fmla="*/ 0 h 5143500"/>
              <a:gd name="connsiteX75" fmla="*/ 9144000 w 9144000"/>
              <a:gd name="connsiteY75" fmla="*/ 5143500 h 5143500"/>
              <a:gd name="connsiteX76" fmla="*/ 0 w 9144000"/>
              <a:gd name="connsiteY7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9144000" h="5143500">
                <a:moveTo>
                  <a:pt x="8862930" y="4918662"/>
                </a:moveTo>
                <a:lnTo>
                  <a:pt x="8862940" y="4918674"/>
                </a:lnTo>
                <a:lnTo>
                  <a:pt x="8862930" y="4918680"/>
                </a:lnTo>
                <a:close/>
                <a:moveTo>
                  <a:pt x="8757882" y="4908682"/>
                </a:moveTo>
                <a:cubicBezTo>
                  <a:pt x="8775069" y="4908682"/>
                  <a:pt x="8783191" y="4916774"/>
                  <a:pt x="8783191" y="4931060"/>
                </a:cubicBezTo>
                <a:cubicBezTo>
                  <a:pt x="8783191" y="4945821"/>
                  <a:pt x="8776031" y="4955819"/>
                  <a:pt x="8757882" y="4955819"/>
                </a:cubicBezTo>
                <a:lnTo>
                  <a:pt x="8752150" y="4955819"/>
                </a:lnTo>
                <a:lnTo>
                  <a:pt x="8752150" y="4908800"/>
                </a:lnTo>
                <a:cubicBezTo>
                  <a:pt x="8754173" y="4908682"/>
                  <a:pt x="8756087" y="4908682"/>
                  <a:pt x="8757882" y="4908682"/>
                </a:cubicBezTo>
                <a:close/>
                <a:moveTo>
                  <a:pt x="8309514" y="4908682"/>
                </a:moveTo>
                <a:cubicBezTo>
                  <a:pt x="8326702" y="4908682"/>
                  <a:pt x="8334824" y="4916774"/>
                  <a:pt x="8334824" y="4931060"/>
                </a:cubicBezTo>
                <a:cubicBezTo>
                  <a:pt x="8334824" y="4945821"/>
                  <a:pt x="8327663" y="4955819"/>
                  <a:pt x="8309514" y="4955819"/>
                </a:cubicBezTo>
                <a:lnTo>
                  <a:pt x="8303782" y="4955819"/>
                </a:lnTo>
                <a:lnTo>
                  <a:pt x="8303782" y="4908800"/>
                </a:lnTo>
                <a:cubicBezTo>
                  <a:pt x="8305815" y="4908682"/>
                  <a:pt x="8307720" y="4908682"/>
                  <a:pt x="8309514" y="4908682"/>
                </a:cubicBezTo>
                <a:close/>
                <a:moveTo>
                  <a:pt x="8656176" y="4889642"/>
                </a:moveTo>
                <a:lnTo>
                  <a:pt x="8656176" y="5003422"/>
                </a:lnTo>
                <a:lnTo>
                  <a:pt x="8691036" y="5003422"/>
                </a:lnTo>
                <a:lnTo>
                  <a:pt x="8691036" y="4889642"/>
                </a:lnTo>
                <a:close/>
                <a:moveTo>
                  <a:pt x="8575476" y="4889642"/>
                </a:moveTo>
                <a:lnTo>
                  <a:pt x="8575476" y="5003422"/>
                </a:lnTo>
                <a:lnTo>
                  <a:pt x="8638503" y="5003422"/>
                </a:lnTo>
                <a:lnTo>
                  <a:pt x="8643759" y="4980570"/>
                </a:lnTo>
                <a:lnTo>
                  <a:pt x="8610337" y="4980570"/>
                </a:lnTo>
                <a:lnTo>
                  <a:pt x="8610337" y="4889642"/>
                </a:lnTo>
                <a:close/>
                <a:moveTo>
                  <a:pt x="8514839" y="4889642"/>
                </a:moveTo>
                <a:lnTo>
                  <a:pt x="8514839" y="5003422"/>
                </a:lnTo>
                <a:lnTo>
                  <a:pt x="8549700" y="5003422"/>
                </a:lnTo>
                <a:lnTo>
                  <a:pt x="8549700" y="4889642"/>
                </a:lnTo>
                <a:close/>
                <a:moveTo>
                  <a:pt x="8383044" y="4889642"/>
                </a:moveTo>
                <a:lnTo>
                  <a:pt x="8383044" y="5003422"/>
                </a:lnTo>
                <a:lnTo>
                  <a:pt x="8417905" y="5003422"/>
                </a:lnTo>
                <a:lnTo>
                  <a:pt x="8417905" y="4958675"/>
                </a:lnTo>
                <a:lnTo>
                  <a:pt x="8454193" y="4958675"/>
                </a:lnTo>
                <a:lnTo>
                  <a:pt x="8454193" y="5003422"/>
                </a:lnTo>
                <a:lnTo>
                  <a:pt x="8489054" y="5003422"/>
                </a:lnTo>
                <a:lnTo>
                  <a:pt x="8489054" y="4889642"/>
                </a:lnTo>
                <a:lnTo>
                  <a:pt x="8454193" y="4889642"/>
                </a:lnTo>
                <a:lnTo>
                  <a:pt x="8454193" y="4934873"/>
                </a:lnTo>
                <a:lnTo>
                  <a:pt x="8417905" y="4934873"/>
                </a:lnTo>
                <a:lnTo>
                  <a:pt x="8417905" y="4889642"/>
                </a:lnTo>
                <a:close/>
                <a:moveTo>
                  <a:pt x="8759786" y="4887261"/>
                </a:moveTo>
                <a:cubicBezTo>
                  <a:pt x="8745941" y="4887261"/>
                  <a:pt x="8729230" y="4888210"/>
                  <a:pt x="8717289" y="4889642"/>
                </a:cubicBezTo>
                <a:lnTo>
                  <a:pt x="8717289" y="5003422"/>
                </a:lnTo>
                <a:lnTo>
                  <a:pt x="8752150" y="5003422"/>
                </a:lnTo>
                <a:lnTo>
                  <a:pt x="8752150" y="4976282"/>
                </a:lnTo>
                <a:lnTo>
                  <a:pt x="8764566" y="4976282"/>
                </a:lnTo>
                <a:lnTo>
                  <a:pt x="8764566" y="4976291"/>
                </a:lnTo>
                <a:cubicBezTo>
                  <a:pt x="8797037" y="4976291"/>
                  <a:pt x="8817567" y="4959633"/>
                  <a:pt x="8817567" y="4930586"/>
                </a:cubicBezTo>
                <a:cubicBezTo>
                  <a:pt x="8817567" y="4898692"/>
                  <a:pt x="8795599" y="4887261"/>
                  <a:pt x="8759786" y="4887261"/>
                </a:cubicBezTo>
                <a:close/>
                <a:moveTo>
                  <a:pt x="8311428" y="4887261"/>
                </a:moveTo>
                <a:cubicBezTo>
                  <a:pt x="8297583" y="4887261"/>
                  <a:pt x="8280872" y="4888210"/>
                  <a:pt x="8268931" y="4889642"/>
                </a:cubicBezTo>
                <a:lnTo>
                  <a:pt x="8268931" y="5003422"/>
                </a:lnTo>
                <a:lnTo>
                  <a:pt x="8303791" y="5003422"/>
                </a:lnTo>
                <a:lnTo>
                  <a:pt x="8303791" y="4976282"/>
                </a:lnTo>
                <a:lnTo>
                  <a:pt x="8316208" y="4976282"/>
                </a:lnTo>
                <a:lnTo>
                  <a:pt x="8316199" y="4976291"/>
                </a:lnTo>
                <a:cubicBezTo>
                  <a:pt x="8348669" y="4976291"/>
                  <a:pt x="8369199" y="4959633"/>
                  <a:pt x="8369199" y="4930586"/>
                </a:cubicBezTo>
                <a:cubicBezTo>
                  <a:pt x="8369208" y="4898683"/>
                  <a:pt x="8347241" y="4887261"/>
                  <a:pt x="8311428" y="4887261"/>
                </a:cubicBezTo>
                <a:close/>
                <a:moveTo>
                  <a:pt x="8875337" y="4887252"/>
                </a:moveTo>
                <a:cubicBezTo>
                  <a:pt x="8847162" y="4887252"/>
                  <a:pt x="8828069" y="4898318"/>
                  <a:pt x="8828069" y="4921527"/>
                </a:cubicBezTo>
                <a:cubicBezTo>
                  <a:pt x="8828069" y="4961521"/>
                  <a:pt x="8882507" y="4953429"/>
                  <a:pt x="8882507" y="4971994"/>
                </a:cubicBezTo>
                <a:cubicBezTo>
                  <a:pt x="8882507" y="4979137"/>
                  <a:pt x="8877251" y="4982942"/>
                  <a:pt x="8864367" y="4982942"/>
                </a:cubicBezTo>
                <a:cubicBezTo>
                  <a:pt x="8852903" y="4982942"/>
                  <a:pt x="8835239" y="4979137"/>
                  <a:pt x="8824736" y="4973892"/>
                </a:cubicBezTo>
                <a:lnTo>
                  <a:pt x="8828555" y="5000074"/>
                </a:lnTo>
                <a:cubicBezTo>
                  <a:pt x="8839058" y="5003888"/>
                  <a:pt x="8853388" y="5005785"/>
                  <a:pt x="8864844" y="5005785"/>
                </a:cubicBezTo>
                <a:cubicBezTo>
                  <a:pt x="8893972" y="5005785"/>
                  <a:pt x="8917844" y="4996261"/>
                  <a:pt x="8917844" y="4967697"/>
                </a:cubicBezTo>
                <a:cubicBezTo>
                  <a:pt x="8917844" y="4939131"/>
                  <a:pt x="8886955" y="4936008"/>
                  <a:pt x="8871510" y="4928600"/>
                </a:cubicBezTo>
                <a:lnTo>
                  <a:pt x="8862940" y="4918674"/>
                </a:lnTo>
                <a:lnTo>
                  <a:pt x="8879165" y="4909630"/>
                </a:lnTo>
                <a:cubicBezTo>
                  <a:pt x="8890144" y="4909630"/>
                  <a:pt x="8902085" y="4912011"/>
                  <a:pt x="8910198" y="4915341"/>
                </a:cubicBezTo>
                <a:lnTo>
                  <a:pt x="8907332" y="4890582"/>
                </a:lnTo>
                <a:cubicBezTo>
                  <a:pt x="8898257" y="4888675"/>
                  <a:pt x="8890144" y="4887252"/>
                  <a:pt x="8875337" y="4887252"/>
                </a:cubicBez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Click icon to insert your photo OR 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 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eed the white logo? Select “Hide Background Graphics” in the Format Shape pane.</a:t>
            </a:r>
          </a:p>
        </p:txBody>
      </p:sp>
      <p:sp>
        <p:nvSpPr>
          <p:cNvPr id="3" name="Footer Placeholder 11">
            <a:extLst>
              <a:ext uri="{FF2B5EF4-FFF2-40B4-BE49-F238E27FC236}">
                <a16:creationId xmlns:a16="http://schemas.microsoft.com/office/drawing/2014/main" id="{83C774FF-44C9-505B-D3A3-7BDAED31291A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502919" y="4928616"/>
            <a:ext cx="237744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12">
            <a:extLst>
              <a:ext uri="{FF2B5EF4-FFF2-40B4-BE49-F238E27FC236}">
                <a16:creationId xmlns:a16="http://schemas.microsoft.com/office/drawing/2014/main" id="{8E634DF2-19D4-5701-B6C3-6993A4076E5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694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720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light blue (vertical logo)">
    <p:bg>
      <p:bgPr>
        <a:solidFill>
          <a:srgbClr val="B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A8230AB-B9C3-ABB7-8E09-DB40160FB8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06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337A30B-E80E-D3BE-EC18-C70BD71A60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685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9404725-0715-5DAD-58B4-34C44B0565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7641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DEFDCC6-A291-B654-EC74-B2F7A352C26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0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63D59C3-AC2B-8821-72FE-690F065F5B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and black logo&#10;&#10;Description automatically generated">
            <a:extLst>
              <a:ext uri="{FF2B5EF4-FFF2-40B4-BE49-F238E27FC236}">
                <a16:creationId xmlns:a16="http://schemas.microsoft.com/office/drawing/2014/main" id="{4F4C1511-F04E-7339-FC99-C7CDCAF03840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7277" y="283122"/>
            <a:ext cx="841742" cy="457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4341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-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8DAE83-C9A1-3CFA-42F6-1FB772A3EA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C6C873-7B4F-45EB-5E38-3E9D0111ED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4F1A5FB4-4CD7-A2E4-670C-488F2F85AB4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684" y="395420"/>
            <a:ext cx="1152627" cy="21001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DC5DC1B-90D1-16A7-427B-3D24F944CA79}"/>
              </a:ext>
            </a:extLst>
          </p:cNvPr>
          <p:cNvSpPr txBox="1"/>
          <p:nvPr userDrawn="1"/>
        </p:nvSpPr>
        <p:spPr>
          <a:xfrm>
            <a:off x="2028322" y="1833086"/>
            <a:ext cx="5087355" cy="147732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 algn="ctr">
              <a:spcAft>
                <a:spcPts val="600"/>
              </a:spcAft>
              <a:buSzPct val="75000"/>
              <a:buFontTx/>
              <a:buNone/>
            </a:pPr>
            <a:r>
              <a:rPr lang="en-US" sz="9600" b="0" i="0" dirty="0">
                <a:solidFill>
                  <a:schemeClr val="bg1"/>
                </a:solidFill>
                <a:latin typeface="+mj-lt"/>
                <a:cs typeface="Neue Frutiger World Light" panose="020B040304030402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0222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6365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8DAE83-C9A1-3CFA-42F6-1FB772A3EA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C6C873-7B4F-45EB-5E38-3E9D0111ED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4F1A5FB4-4CD7-A2E4-670C-488F2F85AB4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684" y="395420"/>
            <a:ext cx="1152627" cy="21001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B3D22CC-58D4-6B7C-7DAB-99EF135F187D}"/>
              </a:ext>
            </a:extLst>
          </p:cNvPr>
          <p:cNvSpPr txBox="1"/>
          <p:nvPr userDrawn="1"/>
        </p:nvSpPr>
        <p:spPr>
          <a:xfrm>
            <a:off x="2028323" y="1833086"/>
            <a:ext cx="5087355" cy="147732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indent="0" algn="ctr">
              <a:spcAft>
                <a:spcPts val="600"/>
              </a:spcAft>
              <a:buSzPct val="75000"/>
              <a:buFontTx/>
              <a:buNone/>
            </a:pPr>
            <a:r>
              <a:rPr lang="en-US" sz="9600" b="0" i="0" dirty="0">
                <a:solidFill>
                  <a:srgbClr val="0B5ED7"/>
                </a:solidFill>
                <a:latin typeface="+mj-lt"/>
                <a:cs typeface="Neue Frutiger World Light" panose="020B040304030402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21852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wh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2140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">
    <p:bg>
      <p:bgPr>
        <a:solidFill>
          <a:srgbClr val="0B5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BA6EBA-0B6D-29E9-8810-D683D76E52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513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1FFB978-6F2E-5049-5D74-33430B16B3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729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56F195D-D283-0223-500A-2A7F2FFBD1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808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E790E38-98FA-70A9-4EE5-722204681BC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2920" y="2743214"/>
            <a:ext cx="603504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B3D7AC3-F347-3071-2181-D9C053A942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2426750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1A35D731-0B11-06EA-0894-958EC48E1220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643" y="494551"/>
            <a:ext cx="8162712" cy="149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94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4="http://schemas.microsoft.com/office/drawing/2010/main" xmlns:a16="http://schemas.microsoft.com/office/drawing/2014/main"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7312E4E-DC5C-89CF-7901-9D7696F5D2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1" y="4466069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52FCA5D-44C5-0E96-A4ED-D15CBC06B98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1" y="4276855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A46E337-3DA0-B0D4-133A-AB8C2FAAE9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1" y="4087641"/>
            <a:ext cx="429768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436B09D-E480-1E38-A7DC-3421B3A1D26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2920" y="2743200"/>
            <a:ext cx="6050280" cy="120700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EF22C47-0608-FFD6-A0EF-7FC8A20898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2920" y="2423160"/>
            <a:ext cx="603504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4" name="Picture 13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2ACDB9F0-E4A4-8202-89B5-AB6BCF94BD5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643" y="494551"/>
            <a:ext cx="8162712" cy="149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9167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581040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4A21B94C-7C28-C49E-8A73-7BB8D32C62D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2EE367FA-0013-3CCF-0C7D-DDEC90BC56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324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823AE83-3E3B-92E1-FB70-9FBDAA6BCC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5304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471E571-6560-C923-2D4C-1DA9F62DE1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5D577A7-4438-51B9-1408-E3E654B19A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418FC48-F21F-8519-D2D8-2885B0BD65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F7BE3BDF-77FD-FD36-ABA6-BBC1A344EE4E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12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620791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06FA6940-81B4-5F30-47C8-908F58E0B43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C9B2CB8-AACA-A98F-4406-A49710FED3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2272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318B85E-CB3F-F750-5606-E0E20DA5ED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482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DEE87C9-58F0-1BD5-F424-DF9A5B09F0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0305E62-8667-FC12-E707-F92FB39642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2B8A9A7-64E0-C36E-31F7-BE506AC64A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6" name="Picture 15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A9543EE3-B6C8-50A7-7410-B4C6D0EE329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703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light blue">
    <p:bg>
      <p:bgPr>
        <a:solidFill>
          <a:srgbClr val="B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5E12D76E-01D3-07B0-1D56-2358A148957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CB24236-CADB-7354-060A-BE0EB20144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2272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909AA42-874F-29D2-A2E8-5F92C25F88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482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6E9C10D-3E78-9EB7-56B2-E9F1089398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rgbClr val="0B5ED7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48CCF44-10C0-C55C-9440-4D098E5BE8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rgbClr val="0B5ED7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8224E75-DFDC-5E03-C79D-82F76B43E9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rgbClr val="0B5ED7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2" name="Picture 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B9D51D7F-AFCE-8C5D-DC4D-4792772F4994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557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: 1/3 logo dark blue">
    <p:bg>
      <p:bgPr>
        <a:solidFill>
          <a:srgbClr val="00126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48203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683DEB3E-7F85-179F-44C9-A5EF66E3060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59936" y="0"/>
            <a:ext cx="5084064" cy="51435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wrap="square" lIns="0" tIns="0" rIns="0" bIns="0" spcCol="324000" rtlCol="0" anchor="ctr">
            <a:noAutofit/>
          </a:bodyPr>
          <a:lstStyle>
            <a:lvl1pPr marL="0" indent="0" algn="ctr">
              <a:spcAft>
                <a:spcPts val="0"/>
              </a:spcAft>
              <a:buNone/>
              <a:defRPr lang="en-US" dirty="0"/>
            </a:lvl1pPr>
          </a:lstStyle>
          <a:p>
            <a:pPr marL="0" lvl="0" indent="0" algn="ctr">
              <a:buNone/>
            </a:pPr>
            <a:r>
              <a:rPr lang="en-US" noProof="0" dirty="0"/>
              <a:t>Click icon to insert your photo OR</a:t>
            </a:r>
            <a:br>
              <a:rPr lang="en-US" noProof="0" dirty="0"/>
            </a:br>
            <a:r>
              <a:rPr lang="en-US" noProof="0" dirty="0"/>
              <a:t>select one from PAL through Templafy </a:t>
            </a: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hen, use “Crop” to recenter and resize</a:t>
            </a:r>
            <a:br>
              <a:rPr lang="en-US" noProof="0" dirty="0"/>
            </a:br>
            <a:r>
              <a:rPr lang="en-US" noProof="0" dirty="0"/>
              <a:t>your image if your subject appears off-cent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5C7F54A-F913-36F3-2F31-734BCB4E15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502920" y="4462272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F9C8156-A911-51E4-C6BC-A3CEFA732A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02920" y="4274820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and Busines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C4D7B7A-CA4A-233C-C20B-00C100B445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02920" y="4087368"/>
            <a:ext cx="3108960" cy="18288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E874D61-3A86-BE22-8DE1-7D0B805C6F1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2920" y="2057401"/>
            <a:ext cx="3108960" cy="132959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11EBC91-9963-A82F-09DB-9FD3761D75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2920" y="1764792"/>
            <a:ext cx="3108960" cy="1828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Optional header</a:t>
            </a:r>
          </a:p>
        </p:txBody>
      </p:sp>
      <p:pic>
        <p:nvPicPr>
          <p:cNvPr id="12" name="Picture 11" descr="A blue letter on a black background&#10;&#10;Description automatically generated">
            <a:extLst>
              <a:ext uri="{FF2B5EF4-FFF2-40B4-BE49-F238E27FC236}">
                <a16:creationId xmlns:a16="http://schemas.microsoft.com/office/drawing/2014/main" id="{3B491AB6-7AFB-564D-92F4-42298A0191F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900" y="493777"/>
            <a:ext cx="3108960" cy="570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575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p15="http://schemas.microsoft.com/office/powerpoint/2012/main" xmlns:a14="http://schemas.microsoft.com/office/drawing/2010/main" xmlns:v="urn:schemas-microsoft-com:vml" xmlns:a16="http://schemas.microsoft.com/office/drawing/2014/main"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9227EF0-9C60-2003-D6BA-C8BAF062178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6319125" y="4928616"/>
            <a:ext cx="16200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lvl="0">
              <a:defRPr sz="600" b="0" i="0">
                <a:cs typeface="Calibri Light" panose="020F0302020204030204" pitchFamily="34" charset="0"/>
              </a:defRPr>
            </a:lvl1pPr>
            <a:lvl2pPr marL="457140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8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17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5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96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34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7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12" algn="l" defTabSz="91427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© 2024 Koninklijke Philips N.V. All rights reserved.</a:t>
            </a:r>
          </a:p>
        </p:txBody>
      </p:sp>
      <p:sp>
        <p:nvSpPr>
          <p:cNvPr id="2" name="Footer Placeholder 6">
            <a:extLst>
              <a:ext uri="{FF2B5EF4-FFF2-40B4-BE49-F238E27FC236}">
                <a16:creationId xmlns:a16="http://schemas.microsoft.com/office/drawing/2014/main" id="{B1528AAF-4F0A-419B-8AAE-5F058B1ED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919" y="4928616"/>
            <a:ext cx="5486400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 b="0" i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85343E1D-8E69-45CA-BB05-A8D2AF3930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2123" y="4928616"/>
            <a:ext cx="199973" cy="9144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600" b="0" i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  <a:cs typeface="Calibri Light" panose="020F0302020204030204" pitchFamily="34" charset="0"/>
              </a:defRPr>
            </a:lvl1pPr>
          </a:lstStyle>
          <a:p>
            <a:fld id="{A5163908-529D-4A49-892F-D37C4044DFD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9846266C-4ECA-426E-AC3C-9C2166215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4824" y="1211263"/>
            <a:ext cx="8132765" cy="3484800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itle Placeholder 5">
            <a:extLst>
              <a:ext uri="{FF2B5EF4-FFF2-40B4-BE49-F238E27FC236}">
                <a16:creationId xmlns:a16="http://schemas.microsoft.com/office/drawing/2014/main" id="{A0613193-D73A-5A4B-9E3D-2F277B4E0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9" y="376241"/>
            <a:ext cx="8132765" cy="71913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Type your slide headline he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6902C94-33CD-D1CE-02FF-FB1D35E386C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8931" y="4887110"/>
            <a:ext cx="649224" cy="11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098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2" r:id="rId4"/>
    <p:sldLayoutId id="2147484073" r:id="rId5"/>
    <p:sldLayoutId id="2147484077" r:id="rId6"/>
    <p:sldLayoutId id="2147484078" r:id="rId7"/>
    <p:sldLayoutId id="2147484079" r:id="rId8"/>
    <p:sldLayoutId id="2147484080" r:id="rId9"/>
    <p:sldLayoutId id="2147484046" r:id="rId10"/>
    <p:sldLayoutId id="2147484047" r:id="rId11"/>
    <p:sldLayoutId id="2147484048" r:id="rId12"/>
    <p:sldLayoutId id="2147484050" r:id="rId13"/>
    <p:sldLayoutId id="2147484049" r:id="rId14"/>
    <p:sldLayoutId id="2147484051" r:id="rId15"/>
    <p:sldLayoutId id="2147484052" r:id="rId16"/>
    <p:sldLayoutId id="2147484053" r:id="rId17"/>
    <p:sldLayoutId id="2147484054" r:id="rId18"/>
    <p:sldLayoutId id="2147484055" r:id="rId19"/>
    <p:sldLayoutId id="2147484056" r:id="rId20"/>
    <p:sldLayoutId id="2147484057" r:id="rId21"/>
    <p:sldLayoutId id="2147484058" r:id="rId22"/>
    <p:sldLayoutId id="2147484032" r:id="rId23"/>
    <p:sldLayoutId id="2147484033" r:id="rId24"/>
    <p:sldLayoutId id="2147484034" r:id="rId25"/>
    <p:sldLayoutId id="2147484035" r:id="rId26"/>
    <p:sldLayoutId id="2147484036" r:id="rId27"/>
    <p:sldLayoutId id="2147484067" r:id="rId28"/>
    <p:sldLayoutId id="2147484068" r:id="rId29"/>
    <p:sldLayoutId id="2147484081" r:id="rId30"/>
    <p:sldLayoutId id="2147484069" r:id="rId31"/>
    <p:sldLayoutId id="2147484082" r:id="rId32"/>
    <p:sldLayoutId id="2147484070" r:id="rId33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914354" rtl="0" eaLnBrk="1" latinLnBrk="0" hangingPunct="1">
        <a:lnSpc>
          <a:spcPct val="100000"/>
        </a:lnSpc>
        <a:spcBef>
          <a:spcPct val="0"/>
        </a:spcBef>
        <a:spcAft>
          <a:spcPts val="600"/>
        </a:spcAft>
        <a:buNone/>
        <a:defRPr lang="en-US" sz="2400" kern="120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6304" indent="-146304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1pPr>
      <a:lvl2pPr marL="2952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2pPr>
      <a:lvl3pPr marL="4428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3pPr>
      <a:lvl4pPr marL="5904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US" sz="1400" b="0" i="0" kern="1200" dirty="0">
          <a:solidFill>
            <a:schemeClr val="tx1"/>
          </a:solidFill>
          <a:latin typeface="Calibri" panose="020F0502020204030204" pitchFamily="34" charset="0"/>
          <a:ea typeface="+mn-ea"/>
          <a:cs typeface="Calibri Light" panose="020F0302020204030204" pitchFamily="34" charset="0"/>
        </a:defRPr>
      </a:lvl4pPr>
      <a:lvl5pPr marL="738000" indent="-147600" algn="l" defTabSz="1836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Pct val="75000"/>
        <a:buChar char="•"/>
        <a:defRPr lang="en-IN" sz="1400" kern="1200" dirty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8856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lang="en-US" sz="1400" kern="1200" dirty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6pPr>
      <a:lvl7pPr marL="10332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7pPr>
      <a:lvl8pPr marL="11808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8pPr>
      <a:lvl9pPr marL="1328400" indent="-147600" algn="l" defTabSz="91435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SzPct val="7500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3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" userDrawn="1">
          <p15:clr>
            <a:srgbClr val="A4A3A4"/>
          </p15:clr>
        </p15:guide>
        <p15:guide id="4" orient="horz" pos="228" userDrawn="1">
          <p15:clr>
            <a:srgbClr val="A4A3A4"/>
          </p15:clr>
        </p15:guide>
        <p15:guide id="7" orient="horz" pos="2964" userDrawn="1">
          <p15:clr>
            <a:srgbClr val="A4A3A4"/>
          </p15:clr>
        </p15:guide>
        <p15:guide id="15" orient="horz" pos="1620" userDrawn="1">
          <p15:clr>
            <a:srgbClr val="F26B43"/>
          </p15:clr>
        </p15:guide>
        <p15:guide id="16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5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customXml" Target="../../customXml/item2.xml"/><Relationship Id="rId1" Type="http://schemas.openxmlformats.org/officeDocument/2006/relationships/customXml" Target="../../customXml/item6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customXml" Target="../../customXml/item8.xml"/><Relationship Id="rId1" Type="http://schemas.openxmlformats.org/officeDocument/2006/relationships/customXml" Target="../../customXml/item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023D56D-2602-1CA4-D934-27C1FEA9540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625C764-DDCB-4F05-7113-2932D81595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E37346D-2BA7-B9D4-6229-2291F2EA0D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E0D8A56-E6CD-5FD7-E320-F1D29502F0E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VCEG-BY14 – Inclusion of quality metric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8B594E9-6228-DC14-39DA-DF89DB34ED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2" hidden="1">
            <a:extLst>
              <a:ext uri="{FF2B5EF4-FFF2-40B4-BE49-F238E27FC236}">
                <a16:creationId xmlns:a16="http://schemas.microsoft.com/office/drawing/2014/main" id="{0747556C-BFCF-7ED2-06D4-00F0C3CF9E88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0" y="-719138"/>
            <a:ext cx="8132763" cy="1714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 defTabSz="914354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None/>
              <a:defRPr lang="en-US" sz="2400" kern="12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alpha val="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resentation cover slide example: Vertical white logo on blue background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475559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C4294F-C888-C3A2-8CE8-50359238219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BDD03E-C5E4-5B3B-E1A6-63B08082597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C0FD810-861C-8EF2-52CF-99FFEAD5A5E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For widespread adoption of the standard in the healthcare domain it is important that the clinicians have confidence in the output of any lossy compression</a:t>
            </a:r>
          </a:p>
          <a:p>
            <a:r>
              <a:rPr lang="en-US" dirty="0"/>
              <a:t>They can reliably detect what is a true signal artefact, an artefact introduced by poor signal capture, and an artefact introduced by the compression. </a:t>
            </a:r>
          </a:p>
          <a:p>
            <a:r>
              <a:rPr lang="en-US" dirty="0"/>
              <a:t>The current specification includes a distortion metric, but this is one value per interframe period (~9000 samples)</a:t>
            </a:r>
          </a:p>
          <a:p>
            <a:r>
              <a:rPr lang="en-US" dirty="0"/>
              <a:t>We see that this does not have sufficiently fine-grained resolution.</a:t>
            </a:r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BF7F283-C47B-3C2A-4CB4-512C494272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tivation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058418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 xmlns:a16="http://schemas.microsoft.com/office/drawing/2014/main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lines on a white background&#10;&#10;AI-generated content may be incorrect.">
            <a:extLst>
              <a:ext uri="{FF2B5EF4-FFF2-40B4-BE49-F238E27FC236}">
                <a16:creationId xmlns:a16="http://schemas.microsoft.com/office/drawing/2014/main" id="{42DAEC1E-7015-C1DD-E77A-CE892F1311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2905"/>
            <a:ext cx="6951216" cy="4518033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B2563CE-FB37-8D11-3155-A5DC11898C2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971FD8-5075-3914-BAFE-691BCC8BF1C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5F04D58-A039-3A06-FA0D-72DE9FC9B97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826928" y="1225117"/>
            <a:ext cx="2121764" cy="3470945"/>
          </a:xfrm>
        </p:spPr>
        <p:txBody>
          <a:bodyPr/>
          <a:lstStyle/>
          <a:p>
            <a:r>
              <a:rPr lang="en-GB" dirty="0"/>
              <a:t>Recording I33 from </a:t>
            </a:r>
            <a:r>
              <a:rPr lang="en-GB" dirty="0" err="1"/>
              <a:t>incartdb</a:t>
            </a:r>
            <a:r>
              <a:rPr lang="en-GB" dirty="0"/>
              <a:t> dataset.</a:t>
            </a:r>
          </a:p>
          <a:p>
            <a:r>
              <a:rPr lang="en-GB" dirty="0"/>
              <a:t>PSNR1, in 256 sample windows</a:t>
            </a:r>
          </a:p>
          <a:p>
            <a:r>
              <a:rPr lang="en-GB" dirty="0"/>
              <a:t>At QP =22, whole file PSNR1 = 82.5 dB, but varies between ~80 and ~89 </a:t>
            </a:r>
            <a:r>
              <a:rPr lang="en-GB" dirty="0" err="1"/>
              <a:t>dB.</a:t>
            </a: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8364A12-2753-47EB-7FFC-15D08669EA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5223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C1989F9-2E97-FA2B-22C5-6322BE5EB4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237F3C6-AB53-1887-49F7-A26ABD1F8AF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296D439-C253-90BB-D7F4-7445A54DF74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FB36269-781D-408A-33B6-CF32F4D252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944F608-3A7E-B9A1-3746-0B2B412C39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15" y="929640"/>
            <a:ext cx="9009770" cy="328422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38948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9F5811-5BFD-878A-FE0C-81BCF91999D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0095CE8-5060-8017-CD6C-ECC8DB47235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873574-1872-E076-BFBB-C9C260EF7A2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 dirty="0"/>
              <a:t>Extension of either the annotation channel syntax, or the feature set syntax, to optionally include fine-grained distortion metrics.</a:t>
            </a:r>
          </a:p>
          <a:p>
            <a:endParaRPr lang="en-GB" dirty="0"/>
          </a:p>
          <a:p>
            <a:r>
              <a:rPr lang="en-GB" dirty="0"/>
              <a:t>This can be either as raw distortion metrics, or quantized to ranges dependent on the signal modality and compression level.</a:t>
            </a:r>
          </a:p>
          <a:p>
            <a:endParaRPr lang="en-GB" dirty="0"/>
          </a:p>
          <a:p>
            <a:r>
              <a:rPr lang="en-GB" dirty="0"/>
              <a:t>Optionally, allow for the inclusion of signal quality metrics that can be generated by the recording device.</a:t>
            </a:r>
          </a:p>
          <a:p>
            <a:pPr lvl="1"/>
            <a:r>
              <a:rPr lang="en-GB" dirty="0"/>
              <a:t>Many devices measure parameters such as impedance between electrode pairs to automatically signal measurement issues, this is also an important metric to make available to clinicians.</a:t>
            </a:r>
          </a:p>
          <a:p>
            <a:pPr lvl="1"/>
            <a:endParaRPr lang="en-GB" dirty="0"/>
          </a:p>
          <a:p>
            <a:r>
              <a:rPr lang="en-GB" dirty="0"/>
              <a:t>As this does not touch the core codec, how to evaluate? We can bring complete implementation and syntax changes at the next meeting.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3E7D52C-8A20-93DE-1EFB-FC9C392AA6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posed Solution</a:t>
            </a:r>
          </a:p>
        </p:txBody>
      </p:sp>
    </p:spTree>
    <p:extLst>
      <p:ext uri="{BB962C8B-B14F-4D97-AF65-F5344CB8AC3E}">
        <p14:creationId xmlns:p14="http://schemas.microsoft.com/office/powerpoint/2010/main" val="2431596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:a16="http://schemas.microsoft.com/office/drawing/2014/main"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93481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heme/theme1.xml><?xml version="1.0" encoding="utf-8"?>
<a:theme xmlns:a="http://schemas.openxmlformats.org/drawingml/2006/main" name="Slide Master Only: November 2024">
  <a:themeElements>
    <a:clrScheme name="Philips">
      <a:dk1>
        <a:srgbClr val="000000"/>
      </a:dk1>
      <a:lt1>
        <a:srgbClr val="FFFFFF"/>
      </a:lt1>
      <a:dk2>
        <a:srgbClr val="0B5ED7"/>
      </a:dk2>
      <a:lt2>
        <a:srgbClr val="BDF0FF"/>
      </a:lt2>
      <a:accent1>
        <a:srgbClr val="00126E"/>
      </a:accent1>
      <a:accent2>
        <a:srgbClr val="02DA20"/>
      </a:accent2>
      <a:accent3>
        <a:srgbClr val="F85569"/>
      </a:accent3>
      <a:accent4>
        <a:srgbClr val="FFCF50"/>
      </a:accent4>
      <a:accent5>
        <a:srgbClr val="FA8DDC"/>
      </a:accent5>
      <a:accent6>
        <a:srgbClr val="D780FF"/>
      </a:accent6>
      <a:hlink>
        <a:srgbClr val="0B5ED7"/>
      </a:hlink>
      <a:folHlink>
        <a:srgbClr val="0B5ED7"/>
      </a:folHlink>
    </a:clrScheme>
    <a:fontScheme name="Philips (2024)">
      <a:majorFont>
        <a:latin typeface="Calibri Light"/>
        <a:ea typeface="Yu Gothic"/>
        <a:cs typeface=""/>
      </a:majorFont>
      <a:minorFont>
        <a:latin typeface="Calibri"/>
        <a:ea typeface="Yu Gothic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25400" cap="flat" cmpd="sng" algn="ctr">
          <a:noFill/>
          <a:prstDash val="solid"/>
        </a:ln>
        <a:effectLst/>
      </a:spPr>
      <a:bodyPr lIns="0" tIns="0" rIns="0" bIns="0" rtlCol="0" anchor="ctr"/>
      <a:lstStyle>
        <a:defPPr algn="ctr">
          <a:spcAft>
            <a:spcPts val="600"/>
          </a:spcAft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  <a:ln>
          <a:noFill/>
        </a:ln>
      </a:spPr>
      <a:bodyPr wrap="none" lIns="0" tIns="0" rIns="0" bIns="0" rtlCol="0">
        <a:noAutofit/>
      </a:bodyPr>
      <a:lstStyle>
        <a:defPPr marL="0" indent="0" algn="l">
          <a:spcAft>
            <a:spcPts val="600"/>
          </a:spcAft>
          <a:buSzPct val="75000"/>
          <a:buNone/>
          <a:defRPr sz="1400" dirty="0" smtClean="0"/>
        </a:defPPr>
      </a:lstStyle>
    </a:txDef>
  </a:objectDefaults>
  <a:extraClrSchemeLst/>
  <a:custClrLst>
    <a:custClr name="Light Blue">
      <a:srgbClr val="BDF0FF"/>
    </a:custClr>
    <a:custClr name="Light Aqua">
      <a:srgbClr val="9CF6FB"/>
    </a:custClr>
    <a:custClr name="Light Green">
      <a:srgbClr val="ADFFB5"/>
    </a:custClr>
    <a:custClr name="Light Gold">
      <a:srgbClr val="FCFCC2"/>
    </a:custClr>
    <a:custClr name="Light Coral">
      <a:srgbClr val="FFDEDB"/>
    </a:custClr>
    <a:custClr name="Light Pink">
      <a:srgbClr val="FFE5F9"/>
    </a:custClr>
    <a:custClr name="Light Purple">
      <a:srgbClr val="F1DEFC"/>
    </a:custClr>
    <a:custClr name="White">
      <a:srgbClr val="FFFFFF"/>
    </a:custClr>
    <a:custClr name="White">
      <a:srgbClr val="FFFFFF"/>
    </a:custClr>
    <a:custClr name="White">
      <a:srgbClr val="FFFFFF"/>
    </a:custClr>
    <a:custClr name="Philips Blue">
      <a:srgbClr val="0B5ED7"/>
    </a:custClr>
    <a:custClr name="Aqua">
      <a:srgbClr val="02ABB1"/>
    </a:custClr>
    <a:custClr name="Green">
      <a:srgbClr val="02DA21"/>
    </a:custClr>
    <a:custClr name="Gold">
      <a:srgbClr val="FFCF50"/>
    </a:custClr>
    <a:custClr name="Coral">
      <a:srgbClr val="F85569"/>
    </a:custClr>
    <a:custClr name="Pink">
      <a:srgbClr val="FA8DDC"/>
    </a:custClr>
    <a:custClr name="Purple">
      <a:srgbClr val="D780FF"/>
    </a:custClr>
    <a:custClr name="White">
      <a:srgbClr val="FFFFFF"/>
    </a:custClr>
    <a:custClr name="White">
      <a:srgbClr val="FFFFFF"/>
    </a:custClr>
    <a:custClr name="White">
      <a:srgbClr val="FFFFFF"/>
    </a:custClr>
    <a:custClr name="Dark Blue">
      <a:srgbClr val="00126E"/>
    </a:custClr>
    <a:custClr name="Dark Aqua">
      <a:srgbClr val="00666F"/>
    </a:custClr>
    <a:custClr name="Dark Green">
      <a:srgbClr val="008800"/>
    </a:custClr>
    <a:custClr name="Dark Gold">
      <a:srgbClr val="FCA708"/>
    </a:custClr>
    <a:custClr name="Dark Coral">
      <a:srgbClr val="D43F44"/>
    </a:custClr>
    <a:custClr name="Dark Pink">
      <a:srgbClr val="DB0383"/>
    </a:custClr>
    <a:custClr name="Dark Purple">
      <a:srgbClr val="A80DF2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ACTIVE edits_JULY 15 VisID template" id="{6786F5D1-4757-F140-90A2-1887A2078D1A}" vid="{E537A740-66BA-B049-9B06-A6174F937CA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ADA48BB3-A2F8-5147-98FB-30E02B1C7AEF}">
  <we:reference id="54c7af0c-5b65-49a9-ab86-f2a8a4690127" version="2.0.0.3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item1.xml><?xml version="1.0" encoding="utf-8"?>
<TemplafySlideTemplateConfiguration><![CDATA[{"slideVersion":1,"isValidatorEnabled":false,"isLocked":false,"elementsMetadata":[],"slideId":"1044688741783830528","enableDocumentContentUpdater":false,"version":"2.0"}]]></TemplafySlideTemplateConfiguration>
</file>

<file path=customXml/item2.xml><?xml version="1.0" encoding="utf-8"?>
<TemplafySlideFormConfiguration><![CDATA[{"formFields":[],"formDataEntries":[]}]]></TemplafySlideFormConfiguration>
</file>

<file path=customXml/item3.xml><?xml version="1.0" encoding="utf-8"?>
<TemplafyFormConfiguration><![CDATA[{"formFields":[],"formDataEntries":[]}]]></TemplafyFormConfiguration>
</file>

<file path=customXml/item4.xml><?xml version="1.0" encoding="utf-8"?>
<TemplafyTemplateConfiguration><![CDATA[{"elementsMetadata":[],"transformationConfigurations":[],"templateName":"Philips Master Template","templateDescription":"","enableDocumentContentUpdater":false,"version":"2.0"}]]></TemplafyTemplate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slideVersion":1,"isValidatorEnabled":false,"isLocked":false,"elementsMetadata":[],"slideId":"1044688741783830532","enableDocumentContentUpdater":false,"version":"2.0"}]]></TemplafySlideTemplate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TemplateConfiguration><![CDATA[{"slideVersion":1,"isValidatorEnabled":false,"isLocked":false,"elementsMetadata":[],"slideId":"1044688741783830533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12862C41-9AA5-4054-B274-571189BF0734}">
  <ds:schemaRefs/>
</ds:datastoreItem>
</file>

<file path=customXml/itemProps2.xml><?xml version="1.0" encoding="utf-8"?>
<ds:datastoreItem xmlns:ds="http://schemas.openxmlformats.org/officeDocument/2006/customXml" ds:itemID="{6BF8525C-62B9-4321-91B7-FFEFD4A5025A}">
  <ds:schemaRefs/>
</ds:datastoreItem>
</file>

<file path=customXml/itemProps3.xml><?xml version="1.0" encoding="utf-8"?>
<ds:datastoreItem xmlns:ds="http://schemas.openxmlformats.org/officeDocument/2006/customXml" ds:itemID="{758FF650-907C-428F-AD7B-6BA9D849A6CB}">
  <ds:schemaRefs/>
</ds:datastoreItem>
</file>

<file path=customXml/itemProps4.xml><?xml version="1.0" encoding="utf-8"?>
<ds:datastoreItem xmlns:ds="http://schemas.openxmlformats.org/officeDocument/2006/customXml" ds:itemID="{BFBCB3F7-860C-40CC-8532-A042390E68D6}">
  <ds:schemaRefs/>
</ds:datastoreItem>
</file>

<file path=customXml/itemProps5.xml><?xml version="1.0" encoding="utf-8"?>
<ds:datastoreItem xmlns:ds="http://schemas.openxmlformats.org/officeDocument/2006/customXml" ds:itemID="{71EEB487-3A98-4BB3-9C32-E1BF7CB2B049}">
  <ds:schemaRefs/>
</ds:datastoreItem>
</file>

<file path=customXml/itemProps6.xml><?xml version="1.0" encoding="utf-8"?>
<ds:datastoreItem xmlns:ds="http://schemas.openxmlformats.org/officeDocument/2006/customXml" ds:itemID="{B2E38FC4-1533-4A92-B582-8C6E853F1307}">
  <ds:schemaRefs/>
</ds:datastoreItem>
</file>

<file path=customXml/itemProps7.xml><?xml version="1.0" encoding="utf-8"?>
<ds:datastoreItem xmlns:ds="http://schemas.openxmlformats.org/officeDocument/2006/customXml" ds:itemID="{A6B36AB5-24CA-4029-9FB5-25F24ED71B7F}">
  <ds:schemaRefs/>
</ds:datastoreItem>
</file>

<file path=customXml/itemProps8.xml><?xml version="1.0" encoding="utf-8"?>
<ds:datastoreItem xmlns:ds="http://schemas.openxmlformats.org/officeDocument/2006/customXml" ds:itemID="{91AB6EA3-3FA0-48D1-A667-58CAAF3B0157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59</Words>
  <Application>Microsoft Office PowerPoint</Application>
  <PresentationFormat>On-screen Show (16:9)</PresentationFormat>
  <Paragraphs>25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Calibri</vt:lpstr>
      <vt:lpstr>Calibri Light</vt:lpstr>
      <vt:lpstr>Slide Master Only: November 2024</vt:lpstr>
      <vt:lpstr>think-cell Slide</vt:lpstr>
      <vt:lpstr>Presentation cover slide example: Vertical white logo on blue background</vt:lpstr>
      <vt:lpstr>Motivation</vt:lpstr>
      <vt:lpstr>PowerPoint Presentation</vt:lpstr>
      <vt:lpstr>PowerPoint Presentation</vt:lpstr>
      <vt:lpstr>Proposed Solu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hilips Corporate PowerPoint Template</dc:title>
  <dc:subject/>
  <dc:creator/>
  <cp:keywords/>
  <dc:description/>
  <cp:lastModifiedBy/>
  <cp:revision>1</cp:revision>
  <dcterms:created xsi:type="dcterms:W3CDTF">2024-11-11T12:05:53Z</dcterms:created>
  <dcterms:modified xsi:type="dcterms:W3CDTF">2025-07-02T03:59:3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4-11-08T14:42:56</vt:lpwstr>
  </property>
  <property fmtid="{D5CDD505-2E9C-101B-9397-08002B2CF9AE}" pid="3" name="TemplafyTenantId">
    <vt:lpwstr>philips</vt:lpwstr>
  </property>
  <property fmtid="{D5CDD505-2E9C-101B-9397-08002B2CF9AE}" pid="4" name="TemplafyTemplateId">
    <vt:lpwstr>1044688733234529158</vt:lpwstr>
  </property>
  <property fmtid="{D5CDD505-2E9C-101B-9397-08002B2CF9AE}" pid="5" name="TemplafyUserProfileId">
    <vt:lpwstr>638148946507587497</vt:lpwstr>
  </property>
  <property fmtid="{D5CDD505-2E9C-101B-9397-08002B2CF9AE}" pid="6" name="TemplafyFromBlank">
    <vt:bool>true</vt:bool>
  </property>
</Properties>
</file>